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97" r:id="rId4"/>
  </p:sldMasterIdLst>
  <p:notesMasterIdLst>
    <p:notesMasterId r:id="rId17"/>
  </p:notesMasterIdLst>
  <p:handoutMasterIdLst>
    <p:handoutMasterId r:id="rId18"/>
  </p:handoutMasterIdLst>
  <p:sldIdLst>
    <p:sldId id="4460" r:id="rId5"/>
    <p:sldId id="276" r:id="rId6"/>
    <p:sldId id="4474" r:id="rId7"/>
    <p:sldId id="4475" r:id="rId8"/>
    <p:sldId id="4476" r:id="rId9"/>
    <p:sldId id="4500" r:id="rId10"/>
    <p:sldId id="4501" r:id="rId11"/>
    <p:sldId id="4477" r:id="rId12"/>
    <p:sldId id="4502" r:id="rId13"/>
    <p:sldId id="4503" r:id="rId14"/>
    <p:sldId id="4504" r:id="rId15"/>
    <p:sldId id="4444" r:id="rId16"/>
  </p:sldIdLst>
  <p:sldSz cx="12192000" cy="6858000"/>
  <p:notesSz cx="6858000" cy="9144000"/>
  <p:embeddedFontLst>
    <p:embeddedFont>
      <p:font typeface="Montserrat" panose="00000500000000000000" pitchFamily="2" charset="0"/>
      <p:regular r:id="rId19"/>
      <p:bold r:id="rId20"/>
      <p:italic r:id="rId21"/>
      <p:boldItalic r:id="rId22"/>
    </p:embeddedFont>
    <p:embeddedFont>
      <p:font typeface="Montserrat Light" panose="00000400000000000000" pitchFamily="2" charset="0"/>
      <p:regular r:id="rId23"/>
      <p:italic r:id="rId24"/>
    </p:embeddedFont>
    <p:embeddedFont>
      <p:font typeface="Montserrat Medium" panose="00000600000000000000" pitchFamily="2" charset="0"/>
      <p:regular r:id="rId25"/>
      <p:italic r:id="rId26"/>
    </p:embeddedFont>
    <p:embeddedFont>
      <p:font typeface="Montserrat SemiBold" panose="00000700000000000000" pitchFamily="2" charset="0"/>
      <p:regular r:id="rId27"/>
      <p:bold r:id="rId28"/>
      <p:italic r:id="rId29"/>
      <p:boldItalic r:id="rId30"/>
    </p:embeddedFont>
  </p:embeddedFontLst>
  <p:custDataLst>
    <p:tags r:id="rId3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912EB0E-3C49-F74C-AA23-3208A27A4E60}" name="Lesnefsky, Warren" initials="WL" userId="S::Warren.Lesnefsky@cotiviti.com::4e79a77a-57f7-4898-bc6a-5e138943e248" providerId="AD"/>
  <p188:author id="{10819538-A79B-40B1-639F-641E1DAEFBB3}" name="Waibel, Beth" initials="BW" userId="S::beth.waibel@cotiviti.com::7d27d961-0df1-4ff5-bfc5-fdbcbb0972a3" providerId="AD"/>
  <p188:author id="{B5781461-7C3A-502F-BDD8-E7AB1CF843C0}" name="Hawley, Matthew" initials="HM" userId="S::matthew.hawley@cotiviti.com::54e282e0-22bd-412b-a61a-11fd9ad0b81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1006F"/>
    <a:srgbClr val="EC008C"/>
    <a:srgbClr val="9579D3"/>
    <a:srgbClr val="F49AC1"/>
    <a:srgbClr val="C2BFE0"/>
    <a:srgbClr val="BAA5E4"/>
    <a:srgbClr val="DA7F29"/>
    <a:srgbClr val="E1832A"/>
    <a:srgbClr val="E6862B"/>
    <a:srgbClr val="EC8A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4DB0196-3711-4E5F-BB9F-9A04056C42F2}" v="143" dt="2025-09-10T20:38:04.932"/>
  </p1510:revLst>
</p1510:revInfo>
</file>

<file path=ppt/tableStyles.xml><?xml version="1.0" encoding="utf-8"?>
<a:tblStyleLst xmlns:a="http://schemas.openxmlformats.org/drawingml/2006/main" def="{5C22544A-7EE6-4342-B048-85BDC9FD1C3A}"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5865"/>
  </p:normalViewPr>
  <p:slideViewPr>
    <p:cSldViewPr snapToGrid="0">
      <p:cViewPr varScale="1">
        <p:scale>
          <a:sx n="104" d="100"/>
          <a:sy n="104" d="100"/>
        </p:scale>
        <p:origin x="168" y="150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26" Type="http://schemas.openxmlformats.org/officeDocument/2006/relationships/font" Target="fonts/font8.fntdata"/><Relationship Id="rId21" Type="http://schemas.openxmlformats.org/officeDocument/2006/relationships/font" Target="fonts/font3.fntdata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5" Type="http://schemas.openxmlformats.org/officeDocument/2006/relationships/font" Target="fonts/font7.fntdata"/><Relationship Id="rId33" Type="http://schemas.openxmlformats.org/officeDocument/2006/relationships/viewProps" Target="viewProps.xml"/><Relationship Id="rId38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font" Target="fonts/font2.fntdata"/><Relationship Id="rId29" Type="http://schemas.openxmlformats.org/officeDocument/2006/relationships/font" Target="fonts/font11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6.fntdata"/><Relationship Id="rId32" Type="http://schemas.openxmlformats.org/officeDocument/2006/relationships/presProps" Target="presProps.xml"/><Relationship Id="rId37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5.fntdata"/><Relationship Id="rId28" Type="http://schemas.openxmlformats.org/officeDocument/2006/relationships/font" Target="fonts/font10.fntdata"/><Relationship Id="rId36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font" Target="fonts/font1.fntdata"/><Relationship Id="rId31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4.fntdata"/><Relationship Id="rId27" Type="http://schemas.openxmlformats.org/officeDocument/2006/relationships/font" Target="fonts/font9.fntdata"/><Relationship Id="rId30" Type="http://schemas.openxmlformats.org/officeDocument/2006/relationships/font" Target="fonts/font12.fntdata"/><Relationship Id="rId35" Type="http://schemas.openxmlformats.org/officeDocument/2006/relationships/tableStyles" Target="tableStyle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abadi, Pooja" userId="93805713-a592-4406-af14-3f5a66cfedf0" providerId="ADAL" clId="{3320FFB9-F3A8-4176-AF1C-5FF8BBA63886}"/>
    <pc:docChg chg="undo custSel addSld delSld modSld">
      <pc:chgData name="Kabadi, Pooja" userId="93805713-a592-4406-af14-3f5a66cfedf0" providerId="ADAL" clId="{3320FFB9-F3A8-4176-AF1C-5FF8BBA63886}" dt="2025-09-10T20:38:04.932" v="917" actId="404"/>
      <pc:docMkLst>
        <pc:docMk/>
      </pc:docMkLst>
      <pc:sldChg chg="del">
        <pc:chgData name="Kabadi, Pooja" userId="93805713-a592-4406-af14-3f5a66cfedf0" providerId="ADAL" clId="{3320FFB9-F3A8-4176-AF1C-5FF8BBA63886}" dt="2025-09-10T20:32:51.168" v="862" actId="47"/>
        <pc:sldMkLst>
          <pc:docMk/>
          <pc:sldMk cId="3943591237" sldId="329"/>
        </pc:sldMkLst>
      </pc:sldChg>
      <pc:sldChg chg="del">
        <pc:chgData name="Kabadi, Pooja" userId="93805713-a592-4406-af14-3f5a66cfedf0" providerId="ADAL" clId="{3320FFB9-F3A8-4176-AF1C-5FF8BBA63886}" dt="2025-09-10T20:32:51.168" v="862" actId="47"/>
        <pc:sldMkLst>
          <pc:docMk/>
          <pc:sldMk cId="1913960224" sldId="330"/>
        </pc:sldMkLst>
      </pc:sldChg>
      <pc:sldChg chg="del">
        <pc:chgData name="Kabadi, Pooja" userId="93805713-a592-4406-af14-3f5a66cfedf0" providerId="ADAL" clId="{3320FFB9-F3A8-4176-AF1C-5FF8BBA63886}" dt="2025-09-10T20:32:51.168" v="862" actId="47"/>
        <pc:sldMkLst>
          <pc:docMk/>
          <pc:sldMk cId="1991356723" sldId="331"/>
        </pc:sldMkLst>
      </pc:sldChg>
      <pc:sldChg chg="del">
        <pc:chgData name="Kabadi, Pooja" userId="93805713-a592-4406-af14-3f5a66cfedf0" providerId="ADAL" clId="{3320FFB9-F3A8-4176-AF1C-5FF8BBA63886}" dt="2025-09-10T20:32:51.168" v="862" actId="47"/>
        <pc:sldMkLst>
          <pc:docMk/>
          <pc:sldMk cId="3301976" sldId="332"/>
        </pc:sldMkLst>
      </pc:sldChg>
      <pc:sldChg chg="del">
        <pc:chgData name="Kabadi, Pooja" userId="93805713-a592-4406-af14-3f5a66cfedf0" providerId="ADAL" clId="{3320FFB9-F3A8-4176-AF1C-5FF8BBA63886}" dt="2025-09-10T20:32:51.168" v="862" actId="47"/>
        <pc:sldMkLst>
          <pc:docMk/>
          <pc:sldMk cId="1755587388" sldId="333"/>
        </pc:sldMkLst>
      </pc:sldChg>
      <pc:sldChg chg="del">
        <pc:chgData name="Kabadi, Pooja" userId="93805713-a592-4406-af14-3f5a66cfedf0" providerId="ADAL" clId="{3320FFB9-F3A8-4176-AF1C-5FF8BBA63886}" dt="2025-09-10T20:32:51.168" v="862" actId="47"/>
        <pc:sldMkLst>
          <pc:docMk/>
          <pc:sldMk cId="1221672548" sldId="335"/>
        </pc:sldMkLst>
      </pc:sldChg>
      <pc:sldChg chg="del">
        <pc:chgData name="Kabadi, Pooja" userId="93805713-a592-4406-af14-3f5a66cfedf0" providerId="ADAL" clId="{3320FFB9-F3A8-4176-AF1C-5FF8BBA63886}" dt="2025-09-10T20:33:01.791" v="863" actId="47"/>
        <pc:sldMkLst>
          <pc:docMk/>
          <pc:sldMk cId="2285833304" sldId="359"/>
        </pc:sldMkLst>
      </pc:sldChg>
      <pc:sldChg chg="del">
        <pc:chgData name="Kabadi, Pooja" userId="93805713-a592-4406-af14-3f5a66cfedf0" providerId="ADAL" clId="{3320FFB9-F3A8-4176-AF1C-5FF8BBA63886}" dt="2025-09-10T20:33:01.791" v="863" actId="47"/>
        <pc:sldMkLst>
          <pc:docMk/>
          <pc:sldMk cId="2789599110" sldId="360"/>
        </pc:sldMkLst>
      </pc:sldChg>
      <pc:sldChg chg="del">
        <pc:chgData name="Kabadi, Pooja" userId="93805713-a592-4406-af14-3f5a66cfedf0" providerId="ADAL" clId="{3320FFB9-F3A8-4176-AF1C-5FF8BBA63886}" dt="2025-09-10T20:32:51.168" v="862" actId="47"/>
        <pc:sldMkLst>
          <pc:docMk/>
          <pc:sldMk cId="31787575" sldId="4445"/>
        </pc:sldMkLst>
      </pc:sldChg>
      <pc:sldChg chg="del">
        <pc:chgData name="Kabadi, Pooja" userId="93805713-a592-4406-af14-3f5a66cfedf0" providerId="ADAL" clId="{3320FFB9-F3A8-4176-AF1C-5FF8BBA63886}" dt="2025-09-10T20:33:01.791" v="863" actId="47"/>
        <pc:sldMkLst>
          <pc:docMk/>
          <pc:sldMk cId="3595264699" sldId="4446"/>
        </pc:sldMkLst>
      </pc:sldChg>
      <pc:sldChg chg="del">
        <pc:chgData name="Kabadi, Pooja" userId="93805713-a592-4406-af14-3f5a66cfedf0" providerId="ADAL" clId="{3320FFB9-F3A8-4176-AF1C-5FF8BBA63886}" dt="2025-09-10T20:33:01.791" v="863" actId="47"/>
        <pc:sldMkLst>
          <pc:docMk/>
          <pc:sldMk cId="3357883513" sldId="4447"/>
        </pc:sldMkLst>
      </pc:sldChg>
      <pc:sldChg chg="delSp modSp mod">
        <pc:chgData name="Kabadi, Pooja" userId="93805713-a592-4406-af14-3f5a66cfedf0" providerId="ADAL" clId="{3320FFB9-F3A8-4176-AF1C-5FF8BBA63886}" dt="2025-09-09T19:34:06.447" v="43" actId="20577"/>
        <pc:sldMkLst>
          <pc:docMk/>
          <pc:sldMk cId="3896721984" sldId="4460"/>
        </pc:sldMkLst>
        <pc:spChg chg="mod">
          <ac:chgData name="Kabadi, Pooja" userId="93805713-a592-4406-af14-3f5a66cfedf0" providerId="ADAL" clId="{3320FFB9-F3A8-4176-AF1C-5FF8BBA63886}" dt="2025-09-09T19:33:32.819" v="11" actId="20577"/>
          <ac:spMkLst>
            <pc:docMk/>
            <pc:sldMk cId="3896721984" sldId="4460"/>
            <ac:spMk id="2" creationId="{648D23D0-F432-46AD-2DBD-FD745D14AA15}"/>
          </ac:spMkLst>
        </pc:spChg>
        <pc:spChg chg="mod">
          <ac:chgData name="Kabadi, Pooja" userId="93805713-a592-4406-af14-3f5a66cfedf0" providerId="ADAL" clId="{3320FFB9-F3A8-4176-AF1C-5FF8BBA63886}" dt="2025-09-09T19:33:41.951" v="31" actId="20577"/>
          <ac:spMkLst>
            <pc:docMk/>
            <pc:sldMk cId="3896721984" sldId="4460"/>
            <ac:spMk id="3" creationId="{6DF913E5-740C-B9AD-B222-B4F0586C0B44}"/>
          </ac:spMkLst>
        </pc:spChg>
        <pc:spChg chg="mod">
          <ac:chgData name="Kabadi, Pooja" userId="93805713-a592-4406-af14-3f5a66cfedf0" providerId="ADAL" clId="{3320FFB9-F3A8-4176-AF1C-5FF8BBA63886}" dt="2025-09-09T19:34:06.447" v="43" actId="20577"/>
          <ac:spMkLst>
            <pc:docMk/>
            <pc:sldMk cId="3896721984" sldId="4460"/>
            <ac:spMk id="4" creationId="{64AD07E7-5376-90AB-5766-0A9619499580}"/>
          </ac:spMkLst>
        </pc:spChg>
        <pc:spChg chg="del">
          <ac:chgData name="Kabadi, Pooja" userId="93805713-a592-4406-af14-3f5a66cfedf0" providerId="ADAL" clId="{3320FFB9-F3A8-4176-AF1C-5FF8BBA63886}" dt="2025-09-09T19:33:48.299" v="32" actId="478"/>
          <ac:spMkLst>
            <pc:docMk/>
            <pc:sldMk cId="3896721984" sldId="4460"/>
            <ac:spMk id="5" creationId="{B20DA053-FD29-A6D8-3DD2-DB92288966DC}"/>
          </ac:spMkLst>
        </pc:spChg>
        <pc:spChg chg="del">
          <ac:chgData name="Kabadi, Pooja" userId="93805713-a592-4406-af14-3f5a66cfedf0" providerId="ADAL" clId="{3320FFB9-F3A8-4176-AF1C-5FF8BBA63886}" dt="2025-09-09T19:33:55.216" v="33" actId="478"/>
          <ac:spMkLst>
            <pc:docMk/>
            <pc:sldMk cId="3896721984" sldId="4460"/>
            <ac:spMk id="6" creationId="{900EF2A4-1611-F4AF-8C18-B26E10A8178D}"/>
          </ac:spMkLst>
        </pc:spChg>
      </pc:sldChg>
      <pc:sldChg chg="del">
        <pc:chgData name="Kabadi, Pooja" userId="93805713-a592-4406-af14-3f5a66cfedf0" providerId="ADAL" clId="{3320FFB9-F3A8-4176-AF1C-5FF8BBA63886}" dt="2025-09-10T20:33:01.791" v="863" actId="47"/>
        <pc:sldMkLst>
          <pc:docMk/>
          <pc:sldMk cId="1058330472" sldId="4461"/>
        </pc:sldMkLst>
      </pc:sldChg>
      <pc:sldChg chg="del">
        <pc:chgData name="Kabadi, Pooja" userId="93805713-a592-4406-af14-3f5a66cfedf0" providerId="ADAL" clId="{3320FFB9-F3A8-4176-AF1C-5FF8BBA63886}" dt="2025-09-10T20:33:01.791" v="863" actId="47"/>
        <pc:sldMkLst>
          <pc:docMk/>
          <pc:sldMk cId="2114009307" sldId="4462"/>
        </pc:sldMkLst>
      </pc:sldChg>
      <pc:sldChg chg="del">
        <pc:chgData name="Kabadi, Pooja" userId="93805713-a592-4406-af14-3f5a66cfedf0" providerId="ADAL" clId="{3320FFB9-F3A8-4176-AF1C-5FF8BBA63886}" dt="2025-09-10T20:33:01.791" v="863" actId="47"/>
        <pc:sldMkLst>
          <pc:docMk/>
          <pc:sldMk cId="3628447369" sldId="4463"/>
        </pc:sldMkLst>
      </pc:sldChg>
      <pc:sldChg chg="del">
        <pc:chgData name="Kabadi, Pooja" userId="93805713-a592-4406-af14-3f5a66cfedf0" providerId="ADAL" clId="{3320FFB9-F3A8-4176-AF1C-5FF8BBA63886}" dt="2025-09-10T20:33:24.295" v="865" actId="47"/>
        <pc:sldMkLst>
          <pc:docMk/>
          <pc:sldMk cId="3631837048" sldId="4464"/>
        </pc:sldMkLst>
      </pc:sldChg>
      <pc:sldChg chg="del">
        <pc:chgData name="Kabadi, Pooja" userId="93805713-a592-4406-af14-3f5a66cfedf0" providerId="ADAL" clId="{3320FFB9-F3A8-4176-AF1C-5FF8BBA63886}" dt="2025-09-10T20:33:01.791" v="863" actId="47"/>
        <pc:sldMkLst>
          <pc:docMk/>
          <pc:sldMk cId="2279541101" sldId="4465"/>
        </pc:sldMkLst>
      </pc:sldChg>
      <pc:sldChg chg="addSp delSp modSp del mod modClrScheme chgLayout">
        <pc:chgData name="Kabadi, Pooja" userId="93805713-a592-4406-af14-3f5a66cfedf0" providerId="ADAL" clId="{3320FFB9-F3A8-4176-AF1C-5FF8BBA63886}" dt="2025-09-10T20:32:21.306" v="861" actId="47"/>
        <pc:sldMkLst>
          <pc:docMk/>
          <pc:sldMk cId="1415298386" sldId="4467"/>
        </pc:sldMkLst>
        <pc:spChg chg="mod ord">
          <ac:chgData name="Kabadi, Pooja" userId="93805713-a592-4406-af14-3f5a66cfedf0" providerId="ADAL" clId="{3320FFB9-F3A8-4176-AF1C-5FF8BBA63886}" dt="2025-09-09T19:47:39.080" v="225" actId="26606"/>
          <ac:spMkLst>
            <pc:docMk/>
            <pc:sldMk cId="1415298386" sldId="4467"/>
            <ac:spMk id="2" creationId="{DC699EDC-CB14-DE2F-4EA3-B332177B13A5}"/>
          </ac:spMkLst>
        </pc:spChg>
        <pc:spChg chg="del">
          <ac:chgData name="Kabadi, Pooja" userId="93805713-a592-4406-af14-3f5a66cfedf0" providerId="ADAL" clId="{3320FFB9-F3A8-4176-AF1C-5FF8BBA63886}" dt="2025-09-09T19:37:10.635" v="93" actId="478"/>
          <ac:spMkLst>
            <pc:docMk/>
            <pc:sldMk cId="1415298386" sldId="4467"/>
            <ac:spMk id="3" creationId="{175D72C9-489B-CFC1-5CD3-30FB88FA1F1E}"/>
          </ac:spMkLst>
        </pc:spChg>
        <pc:spChg chg="mod">
          <ac:chgData name="Kabadi, Pooja" userId="93805713-a592-4406-af14-3f5a66cfedf0" providerId="ADAL" clId="{3320FFB9-F3A8-4176-AF1C-5FF8BBA63886}" dt="2025-09-09T19:47:39.080" v="225" actId="26606"/>
          <ac:spMkLst>
            <pc:docMk/>
            <pc:sldMk cId="1415298386" sldId="4467"/>
            <ac:spMk id="4" creationId="{01E87E9D-AF77-7865-928D-5E777EAAB4A8}"/>
          </ac:spMkLst>
        </pc:spChg>
        <pc:spChg chg="add del">
          <ac:chgData name="Kabadi, Pooja" userId="93805713-a592-4406-af14-3f5a66cfedf0" providerId="ADAL" clId="{3320FFB9-F3A8-4176-AF1C-5FF8BBA63886}" dt="2025-09-09T19:47:39.080" v="225" actId="26606"/>
          <ac:spMkLst>
            <pc:docMk/>
            <pc:sldMk cId="1415298386" sldId="4467"/>
            <ac:spMk id="5" creationId="{1A764A6A-0335-1164-A08E-E8E2797EED7F}"/>
          </ac:spMkLst>
        </pc:spChg>
        <pc:spChg chg="add del mod">
          <ac:chgData name="Kabadi, Pooja" userId="93805713-a592-4406-af14-3f5a66cfedf0" providerId="ADAL" clId="{3320FFB9-F3A8-4176-AF1C-5FF8BBA63886}" dt="2025-09-09T19:47:39.080" v="225" actId="26606"/>
          <ac:spMkLst>
            <pc:docMk/>
            <pc:sldMk cId="1415298386" sldId="4467"/>
            <ac:spMk id="13" creationId="{6C942340-1861-BC0F-95E2-0398A0D19C34}"/>
          </ac:spMkLst>
        </pc:spChg>
        <pc:spChg chg="add del mod">
          <ac:chgData name="Kabadi, Pooja" userId="93805713-a592-4406-af14-3f5a66cfedf0" providerId="ADAL" clId="{3320FFB9-F3A8-4176-AF1C-5FF8BBA63886}" dt="2025-09-09T19:47:39.080" v="225" actId="26606"/>
          <ac:spMkLst>
            <pc:docMk/>
            <pc:sldMk cId="1415298386" sldId="4467"/>
            <ac:spMk id="15" creationId="{4FF464C1-85F0-411B-1814-536CCCF56284}"/>
          </ac:spMkLst>
        </pc:spChg>
        <pc:spChg chg="add del mod">
          <ac:chgData name="Kabadi, Pooja" userId="93805713-a592-4406-af14-3f5a66cfedf0" providerId="ADAL" clId="{3320FFB9-F3A8-4176-AF1C-5FF8BBA63886}" dt="2025-09-09T19:47:39.080" v="225" actId="26606"/>
          <ac:spMkLst>
            <pc:docMk/>
            <pc:sldMk cId="1415298386" sldId="4467"/>
            <ac:spMk id="17" creationId="{625B870F-FB7B-2CD7-1CD2-48EF76BEC849}"/>
          </ac:spMkLst>
        </pc:spChg>
        <pc:graphicFrameChg chg="add del mod modGraphic">
          <ac:chgData name="Kabadi, Pooja" userId="93805713-a592-4406-af14-3f5a66cfedf0" providerId="ADAL" clId="{3320FFB9-F3A8-4176-AF1C-5FF8BBA63886}" dt="2025-09-09T19:47:30.296" v="222" actId="478"/>
          <ac:graphicFrameMkLst>
            <pc:docMk/>
            <pc:sldMk cId="1415298386" sldId="4467"/>
            <ac:graphicFrameMk id="6" creationId="{8285A81B-4068-15E1-8519-23A2D107318C}"/>
          </ac:graphicFrameMkLst>
        </pc:graphicFrameChg>
        <pc:picChg chg="add mod">
          <ac:chgData name="Kabadi, Pooja" userId="93805713-a592-4406-af14-3f5a66cfedf0" providerId="ADAL" clId="{3320FFB9-F3A8-4176-AF1C-5FF8BBA63886}" dt="2025-09-09T19:47:49.196" v="228" actId="1076"/>
          <ac:picMkLst>
            <pc:docMk/>
            <pc:sldMk cId="1415298386" sldId="4467"/>
            <ac:picMk id="8" creationId="{48B1730B-A131-A90F-B8BE-16C92ECBC49C}"/>
          </ac:picMkLst>
        </pc:picChg>
      </pc:sldChg>
      <pc:sldChg chg="del">
        <pc:chgData name="Kabadi, Pooja" userId="93805713-a592-4406-af14-3f5a66cfedf0" providerId="ADAL" clId="{3320FFB9-F3A8-4176-AF1C-5FF8BBA63886}" dt="2025-09-10T20:32:21.306" v="861" actId="47"/>
        <pc:sldMkLst>
          <pc:docMk/>
          <pc:sldMk cId="187977441" sldId="4468"/>
        </pc:sldMkLst>
      </pc:sldChg>
      <pc:sldChg chg="del">
        <pc:chgData name="Kabadi, Pooja" userId="93805713-a592-4406-af14-3f5a66cfedf0" providerId="ADAL" clId="{3320FFB9-F3A8-4176-AF1C-5FF8BBA63886}" dt="2025-09-10T20:32:21.306" v="861" actId="47"/>
        <pc:sldMkLst>
          <pc:docMk/>
          <pc:sldMk cId="2161095312" sldId="4470"/>
        </pc:sldMkLst>
      </pc:sldChg>
      <pc:sldChg chg="del">
        <pc:chgData name="Kabadi, Pooja" userId="93805713-a592-4406-af14-3f5a66cfedf0" providerId="ADAL" clId="{3320FFB9-F3A8-4176-AF1C-5FF8BBA63886}" dt="2025-09-10T20:32:21.306" v="861" actId="47"/>
        <pc:sldMkLst>
          <pc:docMk/>
          <pc:sldMk cId="864120112" sldId="4471"/>
        </pc:sldMkLst>
      </pc:sldChg>
      <pc:sldChg chg="del">
        <pc:chgData name="Kabadi, Pooja" userId="93805713-a592-4406-af14-3f5a66cfedf0" providerId="ADAL" clId="{3320FFB9-F3A8-4176-AF1C-5FF8BBA63886}" dt="2025-09-10T20:32:21.306" v="861" actId="47"/>
        <pc:sldMkLst>
          <pc:docMk/>
          <pc:sldMk cId="1170264644" sldId="4472"/>
        </pc:sldMkLst>
      </pc:sldChg>
      <pc:sldChg chg="del">
        <pc:chgData name="Kabadi, Pooja" userId="93805713-a592-4406-af14-3f5a66cfedf0" providerId="ADAL" clId="{3320FFB9-F3A8-4176-AF1C-5FF8BBA63886}" dt="2025-09-10T20:32:21.306" v="861" actId="47"/>
        <pc:sldMkLst>
          <pc:docMk/>
          <pc:sldMk cId="2785001765" sldId="4473"/>
        </pc:sldMkLst>
      </pc:sldChg>
      <pc:sldChg chg="addSp delSp modSp mod">
        <pc:chgData name="Kabadi, Pooja" userId="93805713-a592-4406-af14-3f5a66cfedf0" providerId="ADAL" clId="{3320FFB9-F3A8-4176-AF1C-5FF8BBA63886}" dt="2025-09-10T19:38:26.227" v="692" actId="20577"/>
        <pc:sldMkLst>
          <pc:docMk/>
          <pc:sldMk cId="1738963132" sldId="4474"/>
        </pc:sldMkLst>
        <pc:spChg chg="del">
          <ac:chgData name="Kabadi, Pooja" userId="93805713-a592-4406-af14-3f5a66cfedf0" providerId="ADAL" clId="{3320FFB9-F3A8-4176-AF1C-5FF8BBA63886}" dt="2025-09-09T19:48:16.082" v="230" actId="478"/>
          <ac:spMkLst>
            <pc:docMk/>
            <pc:sldMk cId="1738963132" sldId="4474"/>
            <ac:spMk id="3" creationId="{F1360EB4-AC22-E450-AB03-3F402A8C08CA}"/>
          </ac:spMkLst>
        </pc:spChg>
        <pc:spChg chg="del">
          <ac:chgData name="Kabadi, Pooja" userId="93805713-a592-4406-af14-3f5a66cfedf0" providerId="ADAL" clId="{3320FFB9-F3A8-4176-AF1C-5FF8BBA63886}" dt="2025-09-09T19:48:11.101" v="229"/>
          <ac:spMkLst>
            <pc:docMk/>
            <pc:sldMk cId="1738963132" sldId="4474"/>
            <ac:spMk id="4" creationId="{AEAAD5A1-EDBA-F1E6-4D32-53C5BAD4D5CD}"/>
          </ac:spMkLst>
        </pc:spChg>
        <pc:spChg chg="add mod">
          <ac:chgData name="Kabadi, Pooja" userId="93805713-a592-4406-af14-3f5a66cfedf0" providerId="ADAL" clId="{3320FFB9-F3A8-4176-AF1C-5FF8BBA63886}" dt="2025-09-10T19:30:10.868" v="580" actId="1076"/>
          <ac:spMkLst>
            <pc:docMk/>
            <pc:sldMk cId="1738963132" sldId="4474"/>
            <ac:spMk id="5" creationId="{F642B7D7-8008-48B2-0BF5-CEA8E13646B1}"/>
          </ac:spMkLst>
        </pc:spChg>
        <pc:spChg chg="add mod">
          <ac:chgData name="Kabadi, Pooja" userId="93805713-a592-4406-af14-3f5a66cfedf0" providerId="ADAL" clId="{3320FFB9-F3A8-4176-AF1C-5FF8BBA63886}" dt="2025-09-09T19:50:11.856" v="246" actId="1076"/>
          <ac:spMkLst>
            <pc:docMk/>
            <pc:sldMk cId="1738963132" sldId="4474"/>
            <ac:spMk id="7" creationId="{DB8F2092-F685-7F2F-1A4B-04F5578C343B}"/>
          </ac:spMkLst>
        </pc:spChg>
        <pc:spChg chg="add mod topLvl">
          <ac:chgData name="Kabadi, Pooja" userId="93805713-a592-4406-af14-3f5a66cfedf0" providerId="ADAL" clId="{3320FFB9-F3A8-4176-AF1C-5FF8BBA63886}" dt="2025-09-09T20:09:34.197" v="379" actId="164"/>
          <ac:spMkLst>
            <pc:docMk/>
            <pc:sldMk cId="1738963132" sldId="4474"/>
            <ac:spMk id="12" creationId="{7CCDA50A-4554-1322-6382-6D4AB1CDEC4F}"/>
          </ac:spMkLst>
        </pc:spChg>
        <pc:spChg chg="add mod topLvl">
          <ac:chgData name="Kabadi, Pooja" userId="93805713-a592-4406-af14-3f5a66cfedf0" providerId="ADAL" clId="{3320FFB9-F3A8-4176-AF1C-5FF8BBA63886}" dt="2025-09-09T20:09:34.197" v="379" actId="164"/>
          <ac:spMkLst>
            <pc:docMk/>
            <pc:sldMk cId="1738963132" sldId="4474"/>
            <ac:spMk id="13" creationId="{5FD4B0EF-0DC7-8015-D93F-DD926324BC2C}"/>
          </ac:spMkLst>
        </pc:spChg>
        <pc:spChg chg="add mod topLvl">
          <ac:chgData name="Kabadi, Pooja" userId="93805713-a592-4406-af14-3f5a66cfedf0" providerId="ADAL" clId="{3320FFB9-F3A8-4176-AF1C-5FF8BBA63886}" dt="2025-09-09T20:09:34.197" v="379" actId="164"/>
          <ac:spMkLst>
            <pc:docMk/>
            <pc:sldMk cId="1738963132" sldId="4474"/>
            <ac:spMk id="14" creationId="{C217CBBA-C2E4-734D-44BE-705046375BE2}"/>
          </ac:spMkLst>
        </pc:spChg>
        <pc:spChg chg="add mod topLvl">
          <ac:chgData name="Kabadi, Pooja" userId="93805713-a592-4406-af14-3f5a66cfedf0" providerId="ADAL" clId="{3320FFB9-F3A8-4176-AF1C-5FF8BBA63886}" dt="2025-09-09T20:09:34.197" v="379" actId="164"/>
          <ac:spMkLst>
            <pc:docMk/>
            <pc:sldMk cId="1738963132" sldId="4474"/>
            <ac:spMk id="15" creationId="{728AA212-CF62-C122-C334-D3754700063D}"/>
          </ac:spMkLst>
        </pc:spChg>
        <pc:spChg chg="add mod">
          <ac:chgData name="Kabadi, Pooja" userId="93805713-a592-4406-af14-3f5a66cfedf0" providerId="ADAL" clId="{3320FFB9-F3A8-4176-AF1C-5FF8BBA63886}" dt="2025-09-09T19:53:04.292" v="297" actId="1076"/>
          <ac:spMkLst>
            <pc:docMk/>
            <pc:sldMk cId="1738963132" sldId="4474"/>
            <ac:spMk id="16" creationId="{AA04571F-E036-0603-181B-88F41AAE129C}"/>
          </ac:spMkLst>
        </pc:spChg>
        <pc:spChg chg="add mod topLvl">
          <ac:chgData name="Kabadi, Pooja" userId="93805713-a592-4406-af14-3f5a66cfedf0" providerId="ADAL" clId="{3320FFB9-F3A8-4176-AF1C-5FF8BBA63886}" dt="2025-09-09T20:09:34.197" v="379" actId="164"/>
          <ac:spMkLst>
            <pc:docMk/>
            <pc:sldMk cId="1738963132" sldId="4474"/>
            <ac:spMk id="17" creationId="{1A8595F3-396A-B992-9D71-ADADB4631D9B}"/>
          </ac:spMkLst>
        </pc:spChg>
        <pc:spChg chg="add mod topLvl">
          <ac:chgData name="Kabadi, Pooja" userId="93805713-a592-4406-af14-3f5a66cfedf0" providerId="ADAL" clId="{3320FFB9-F3A8-4176-AF1C-5FF8BBA63886}" dt="2025-09-09T20:09:34.197" v="379" actId="164"/>
          <ac:spMkLst>
            <pc:docMk/>
            <pc:sldMk cId="1738963132" sldId="4474"/>
            <ac:spMk id="18" creationId="{0BEC3328-C22E-88C2-FF9A-72582A717D77}"/>
          </ac:spMkLst>
        </pc:spChg>
        <pc:spChg chg="add mod">
          <ac:chgData name="Kabadi, Pooja" userId="93805713-a592-4406-af14-3f5a66cfedf0" providerId="ADAL" clId="{3320FFB9-F3A8-4176-AF1C-5FF8BBA63886}" dt="2025-09-09T19:53:20.704" v="303" actId="1076"/>
          <ac:spMkLst>
            <pc:docMk/>
            <pc:sldMk cId="1738963132" sldId="4474"/>
            <ac:spMk id="19" creationId="{BA796182-D486-5078-4540-13E95B0F2143}"/>
          </ac:spMkLst>
        </pc:spChg>
        <pc:spChg chg="add mod">
          <ac:chgData name="Kabadi, Pooja" userId="93805713-a592-4406-af14-3f5a66cfedf0" providerId="ADAL" clId="{3320FFB9-F3A8-4176-AF1C-5FF8BBA63886}" dt="2025-09-09T19:53:29.465" v="305" actId="1076"/>
          <ac:spMkLst>
            <pc:docMk/>
            <pc:sldMk cId="1738963132" sldId="4474"/>
            <ac:spMk id="20" creationId="{127D99B1-E41E-C770-E8DB-2C2D0FE42C58}"/>
          </ac:spMkLst>
        </pc:spChg>
        <pc:spChg chg="add mod">
          <ac:chgData name="Kabadi, Pooja" userId="93805713-a592-4406-af14-3f5a66cfedf0" providerId="ADAL" clId="{3320FFB9-F3A8-4176-AF1C-5FF8BBA63886}" dt="2025-09-09T19:53:34.539" v="307" actId="1076"/>
          <ac:spMkLst>
            <pc:docMk/>
            <pc:sldMk cId="1738963132" sldId="4474"/>
            <ac:spMk id="21" creationId="{BE585CD8-818A-6E83-B6F3-3D5CBD39C160}"/>
          </ac:spMkLst>
        </pc:spChg>
        <pc:spChg chg="add mod">
          <ac:chgData name="Kabadi, Pooja" userId="93805713-a592-4406-af14-3f5a66cfedf0" providerId="ADAL" clId="{3320FFB9-F3A8-4176-AF1C-5FF8BBA63886}" dt="2025-09-09T19:53:41.001" v="309" actId="1076"/>
          <ac:spMkLst>
            <pc:docMk/>
            <pc:sldMk cId="1738963132" sldId="4474"/>
            <ac:spMk id="22" creationId="{18E7462B-956F-FD64-756E-B98539D6607A}"/>
          </ac:spMkLst>
        </pc:spChg>
        <pc:spChg chg="add mod">
          <ac:chgData name="Kabadi, Pooja" userId="93805713-a592-4406-af14-3f5a66cfedf0" providerId="ADAL" clId="{3320FFB9-F3A8-4176-AF1C-5FF8BBA63886}" dt="2025-09-09T19:53:45.217" v="311" actId="1076"/>
          <ac:spMkLst>
            <pc:docMk/>
            <pc:sldMk cId="1738963132" sldId="4474"/>
            <ac:spMk id="23" creationId="{2587BCE6-205D-25D9-4202-0FD7AA14176B}"/>
          </ac:spMkLst>
        </pc:spChg>
        <pc:spChg chg="add mod topLvl">
          <ac:chgData name="Kabadi, Pooja" userId="93805713-a592-4406-af14-3f5a66cfedf0" providerId="ADAL" clId="{3320FFB9-F3A8-4176-AF1C-5FF8BBA63886}" dt="2025-09-09T20:09:34.197" v="379" actId="164"/>
          <ac:spMkLst>
            <pc:docMk/>
            <pc:sldMk cId="1738963132" sldId="4474"/>
            <ac:spMk id="24" creationId="{41737A19-6F59-EF53-20A5-1DE6CE6BB3FE}"/>
          </ac:spMkLst>
        </pc:spChg>
        <pc:spChg chg="add mod">
          <ac:chgData name="Kabadi, Pooja" userId="93805713-a592-4406-af14-3f5a66cfedf0" providerId="ADAL" clId="{3320FFB9-F3A8-4176-AF1C-5FF8BBA63886}" dt="2025-09-09T19:53:57.703" v="315" actId="1076"/>
          <ac:spMkLst>
            <pc:docMk/>
            <pc:sldMk cId="1738963132" sldId="4474"/>
            <ac:spMk id="25" creationId="{D54AF30C-36F3-35A6-9DE1-EA224AF82119}"/>
          </ac:spMkLst>
        </pc:spChg>
        <pc:spChg chg="add mod">
          <ac:chgData name="Kabadi, Pooja" userId="93805713-a592-4406-af14-3f5a66cfedf0" providerId="ADAL" clId="{3320FFB9-F3A8-4176-AF1C-5FF8BBA63886}" dt="2025-09-09T19:54:06.384" v="317" actId="1076"/>
          <ac:spMkLst>
            <pc:docMk/>
            <pc:sldMk cId="1738963132" sldId="4474"/>
            <ac:spMk id="26" creationId="{CBF38AE9-1819-654F-C783-12EE76EA1208}"/>
          </ac:spMkLst>
        </pc:spChg>
        <pc:spChg chg="add mod topLvl">
          <ac:chgData name="Kabadi, Pooja" userId="93805713-a592-4406-af14-3f5a66cfedf0" providerId="ADAL" clId="{3320FFB9-F3A8-4176-AF1C-5FF8BBA63886}" dt="2025-09-09T20:09:34.197" v="379" actId="164"/>
          <ac:spMkLst>
            <pc:docMk/>
            <pc:sldMk cId="1738963132" sldId="4474"/>
            <ac:spMk id="27" creationId="{8629DA27-6125-2DD1-2DA9-3B2E83E78231}"/>
          </ac:spMkLst>
        </pc:spChg>
        <pc:spChg chg="add mod topLvl">
          <ac:chgData name="Kabadi, Pooja" userId="93805713-a592-4406-af14-3f5a66cfedf0" providerId="ADAL" clId="{3320FFB9-F3A8-4176-AF1C-5FF8BBA63886}" dt="2025-09-09T20:09:34.197" v="379" actId="164"/>
          <ac:spMkLst>
            <pc:docMk/>
            <pc:sldMk cId="1738963132" sldId="4474"/>
            <ac:spMk id="28" creationId="{1174162A-BA4E-C187-B3E2-FA99FCF2167A}"/>
          </ac:spMkLst>
        </pc:spChg>
        <pc:spChg chg="add mod">
          <ac:chgData name="Kabadi, Pooja" userId="93805713-a592-4406-af14-3f5a66cfedf0" providerId="ADAL" clId="{3320FFB9-F3A8-4176-AF1C-5FF8BBA63886}" dt="2025-09-09T19:54:26.639" v="324" actId="1076"/>
          <ac:spMkLst>
            <pc:docMk/>
            <pc:sldMk cId="1738963132" sldId="4474"/>
            <ac:spMk id="29" creationId="{FDABCE33-DEE0-CCA5-2AED-B547623DCA9B}"/>
          </ac:spMkLst>
        </pc:spChg>
        <pc:spChg chg="add mod topLvl">
          <ac:chgData name="Kabadi, Pooja" userId="93805713-a592-4406-af14-3f5a66cfedf0" providerId="ADAL" clId="{3320FFB9-F3A8-4176-AF1C-5FF8BBA63886}" dt="2025-09-09T20:09:34.197" v="379" actId="164"/>
          <ac:spMkLst>
            <pc:docMk/>
            <pc:sldMk cId="1738963132" sldId="4474"/>
            <ac:spMk id="30" creationId="{7EA618A7-66E7-BA11-B772-CBB28EF79CE7}"/>
          </ac:spMkLst>
        </pc:spChg>
        <pc:spChg chg="add mod">
          <ac:chgData name="Kabadi, Pooja" userId="93805713-a592-4406-af14-3f5a66cfedf0" providerId="ADAL" clId="{3320FFB9-F3A8-4176-AF1C-5FF8BBA63886}" dt="2025-09-09T19:54:37.071" v="328" actId="1076"/>
          <ac:spMkLst>
            <pc:docMk/>
            <pc:sldMk cId="1738963132" sldId="4474"/>
            <ac:spMk id="31" creationId="{389A9A02-21A1-F4B5-6116-8EE9ED59A20D}"/>
          </ac:spMkLst>
        </pc:spChg>
        <pc:spChg chg="add mod">
          <ac:chgData name="Kabadi, Pooja" userId="93805713-a592-4406-af14-3f5a66cfedf0" providerId="ADAL" clId="{3320FFB9-F3A8-4176-AF1C-5FF8BBA63886}" dt="2025-09-09T19:56:47.494" v="353" actId="164"/>
          <ac:spMkLst>
            <pc:docMk/>
            <pc:sldMk cId="1738963132" sldId="4474"/>
            <ac:spMk id="33" creationId="{83C15325-EE0F-26EF-360B-8A49D9DBC41A}"/>
          </ac:spMkLst>
        </pc:spChg>
        <pc:spChg chg="add mod">
          <ac:chgData name="Kabadi, Pooja" userId="93805713-a592-4406-af14-3f5a66cfedf0" providerId="ADAL" clId="{3320FFB9-F3A8-4176-AF1C-5FF8BBA63886}" dt="2025-09-09T19:56:47.494" v="353" actId="164"/>
          <ac:spMkLst>
            <pc:docMk/>
            <pc:sldMk cId="1738963132" sldId="4474"/>
            <ac:spMk id="35" creationId="{14EE4979-A4EE-EABE-1E03-BA850686DC57}"/>
          </ac:spMkLst>
        </pc:spChg>
        <pc:spChg chg="add mod">
          <ac:chgData name="Kabadi, Pooja" userId="93805713-a592-4406-af14-3f5a66cfedf0" providerId="ADAL" clId="{3320FFB9-F3A8-4176-AF1C-5FF8BBA63886}" dt="2025-09-09T19:56:47.494" v="353" actId="164"/>
          <ac:spMkLst>
            <pc:docMk/>
            <pc:sldMk cId="1738963132" sldId="4474"/>
            <ac:spMk id="36" creationId="{DB5B52CA-76B9-9625-331E-73875F26186B}"/>
          </ac:spMkLst>
        </pc:spChg>
        <pc:spChg chg="add mod">
          <ac:chgData name="Kabadi, Pooja" userId="93805713-a592-4406-af14-3f5a66cfedf0" providerId="ADAL" clId="{3320FFB9-F3A8-4176-AF1C-5FF8BBA63886}" dt="2025-09-09T19:56:47.494" v="353" actId="164"/>
          <ac:spMkLst>
            <pc:docMk/>
            <pc:sldMk cId="1738963132" sldId="4474"/>
            <ac:spMk id="37" creationId="{944425D7-B713-5E35-B7C4-6432B7E0D7FA}"/>
          </ac:spMkLst>
        </pc:spChg>
        <pc:spChg chg="add mod">
          <ac:chgData name="Kabadi, Pooja" userId="93805713-a592-4406-af14-3f5a66cfedf0" providerId="ADAL" clId="{3320FFB9-F3A8-4176-AF1C-5FF8BBA63886}" dt="2025-09-09T19:56:47.494" v="353" actId="164"/>
          <ac:spMkLst>
            <pc:docMk/>
            <pc:sldMk cId="1738963132" sldId="4474"/>
            <ac:spMk id="38" creationId="{F8820FBF-3B51-E4EF-74FF-20BE1C707C62}"/>
          </ac:spMkLst>
        </pc:spChg>
        <pc:spChg chg="add mod">
          <ac:chgData name="Kabadi, Pooja" userId="93805713-a592-4406-af14-3f5a66cfedf0" providerId="ADAL" clId="{3320FFB9-F3A8-4176-AF1C-5FF8BBA63886}" dt="2025-09-09T19:56:47.494" v="353" actId="164"/>
          <ac:spMkLst>
            <pc:docMk/>
            <pc:sldMk cId="1738963132" sldId="4474"/>
            <ac:spMk id="39" creationId="{369F8666-F682-708C-ABCD-7ACAD425FCAD}"/>
          </ac:spMkLst>
        </pc:spChg>
        <pc:spChg chg="add mod">
          <ac:chgData name="Kabadi, Pooja" userId="93805713-a592-4406-af14-3f5a66cfedf0" providerId="ADAL" clId="{3320FFB9-F3A8-4176-AF1C-5FF8BBA63886}" dt="2025-09-09T19:56:47.494" v="353" actId="164"/>
          <ac:spMkLst>
            <pc:docMk/>
            <pc:sldMk cId="1738963132" sldId="4474"/>
            <ac:spMk id="40" creationId="{3EC1D191-96B1-760A-2A09-9D72BB6B87B4}"/>
          </ac:spMkLst>
        </pc:spChg>
        <pc:spChg chg="add mod">
          <ac:chgData name="Kabadi, Pooja" userId="93805713-a592-4406-af14-3f5a66cfedf0" providerId="ADAL" clId="{3320FFB9-F3A8-4176-AF1C-5FF8BBA63886}" dt="2025-09-09T20:44:24.313" v="435" actId="21"/>
          <ac:spMkLst>
            <pc:docMk/>
            <pc:sldMk cId="1738963132" sldId="4474"/>
            <ac:spMk id="43" creationId="{E1BC8B14-E3B5-1B6B-3C3E-956BDC661102}"/>
          </ac:spMkLst>
        </pc:spChg>
        <pc:spChg chg="add mod">
          <ac:chgData name="Kabadi, Pooja" userId="93805713-a592-4406-af14-3f5a66cfedf0" providerId="ADAL" clId="{3320FFB9-F3A8-4176-AF1C-5FF8BBA63886}" dt="2025-09-10T19:38:26.227" v="692" actId="20577"/>
          <ac:spMkLst>
            <pc:docMk/>
            <pc:sldMk cId="1738963132" sldId="4474"/>
            <ac:spMk id="44" creationId="{4E0C4778-6F52-5E09-FD6C-450D652C5702}"/>
          </ac:spMkLst>
        </pc:spChg>
        <pc:spChg chg="add mod">
          <ac:chgData name="Kabadi, Pooja" userId="93805713-a592-4406-af14-3f5a66cfedf0" providerId="ADAL" clId="{3320FFB9-F3A8-4176-AF1C-5FF8BBA63886}" dt="2025-09-10T19:23:57.039" v="544" actId="21"/>
          <ac:spMkLst>
            <pc:docMk/>
            <pc:sldMk cId="1738963132" sldId="4474"/>
            <ac:spMk id="45" creationId="{1176C507-FE9C-3E7F-AD9F-2AB8F7B5CB43}"/>
          </ac:spMkLst>
        </pc:spChg>
        <pc:grpChg chg="mod">
          <ac:chgData name="Kabadi, Pooja" userId="93805713-a592-4406-af14-3f5a66cfedf0" providerId="ADAL" clId="{3320FFB9-F3A8-4176-AF1C-5FF8BBA63886}" dt="2025-09-09T19:54:56.227" v="331" actId="1076"/>
          <ac:grpSpMkLst>
            <pc:docMk/>
            <pc:sldMk cId="1738963132" sldId="4474"/>
            <ac:grpSpMk id="32" creationId="{BF8F09FC-54FF-2078-05B3-C43F58FDB39A}"/>
          </ac:grpSpMkLst>
        </pc:grpChg>
        <pc:grpChg chg="add mod">
          <ac:chgData name="Kabadi, Pooja" userId="93805713-a592-4406-af14-3f5a66cfedf0" providerId="ADAL" clId="{3320FFB9-F3A8-4176-AF1C-5FF8BBA63886}" dt="2025-09-09T19:56:47.494" v="353" actId="164"/>
          <ac:grpSpMkLst>
            <pc:docMk/>
            <pc:sldMk cId="1738963132" sldId="4474"/>
            <ac:grpSpMk id="41" creationId="{6A99E776-A7AD-3DD7-84D1-13E7B0E8903C}"/>
          </ac:grpSpMkLst>
        </pc:grpChg>
        <pc:picChg chg="add mod">
          <ac:chgData name="Kabadi, Pooja" userId="93805713-a592-4406-af14-3f5a66cfedf0" providerId="ADAL" clId="{3320FFB9-F3A8-4176-AF1C-5FF8BBA63886}" dt="2025-09-09T19:50:49.712" v="249" actId="1076"/>
          <ac:picMkLst>
            <pc:docMk/>
            <pc:sldMk cId="1738963132" sldId="4474"/>
            <ac:picMk id="6" creationId="{5154150F-705D-D9B5-2813-277ED57819F2}"/>
          </ac:picMkLst>
        </pc:picChg>
        <pc:picChg chg="add mod">
          <ac:chgData name="Kabadi, Pooja" userId="93805713-a592-4406-af14-3f5a66cfedf0" providerId="ADAL" clId="{3320FFB9-F3A8-4176-AF1C-5FF8BBA63886}" dt="2025-09-09T19:56:47.494" v="353" actId="164"/>
          <ac:picMkLst>
            <pc:docMk/>
            <pc:sldMk cId="1738963132" sldId="4474"/>
            <ac:picMk id="9" creationId="{7997254F-E682-F475-566A-E4A094078FFB}"/>
          </ac:picMkLst>
        </pc:picChg>
        <pc:cxnChg chg="add mod">
          <ac:chgData name="Kabadi, Pooja" userId="93805713-a592-4406-af14-3f5a66cfedf0" providerId="ADAL" clId="{3320FFB9-F3A8-4176-AF1C-5FF8BBA63886}" dt="2025-09-09T20:09:26.603" v="378" actId="208"/>
          <ac:cxnSpMkLst>
            <pc:docMk/>
            <pc:sldMk cId="1738963132" sldId="4474"/>
            <ac:cxnSpMk id="11" creationId="{47FAAF2F-5801-5AC0-C47F-F324F69EC0D9}"/>
          </ac:cxnSpMkLst>
        </pc:cxnChg>
      </pc:sldChg>
      <pc:sldChg chg="delSp modSp mod">
        <pc:chgData name="Kabadi, Pooja" userId="93805713-a592-4406-af14-3f5a66cfedf0" providerId="ADAL" clId="{3320FFB9-F3A8-4176-AF1C-5FF8BBA63886}" dt="2025-09-10T19:37:17.900" v="688" actId="1076"/>
        <pc:sldMkLst>
          <pc:docMk/>
          <pc:sldMk cId="4143570774" sldId="4475"/>
        </pc:sldMkLst>
        <pc:spChg chg="mod">
          <ac:chgData name="Kabadi, Pooja" userId="93805713-a592-4406-af14-3f5a66cfedf0" providerId="ADAL" clId="{3320FFB9-F3A8-4176-AF1C-5FF8BBA63886}" dt="2025-09-10T19:37:16.733" v="687" actId="122"/>
          <ac:spMkLst>
            <pc:docMk/>
            <pc:sldMk cId="4143570774" sldId="4475"/>
            <ac:spMk id="3" creationId="{7614291B-06F7-81F0-9AC7-2D50C7ACB7E9}"/>
          </ac:spMkLst>
        </pc:spChg>
        <pc:spChg chg="mod">
          <ac:chgData name="Kabadi, Pooja" userId="93805713-a592-4406-af14-3f5a66cfedf0" providerId="ADAL" clId="{3320FFB9-F3A8-4176-AF1C-5FF8BBA63886}" dt="2025-09-10T19:37:17.900" v="688" actId="1076"/>
          <ac:spMkLst>
            <pc:docMk/>
            <pc:sldMk cId="4143570774" sldId="4475"/>
            <ac:spMk id="4" creationId="{7C93FA15-8A7D-DF16-83EC-A95E3F798DF3}"/>
          </ac:spMkLst>
        </pc:spChg>
        <pc:spChg chg="del">
          <ac:chgData name="Kabadi, Pooja" userId="93805713-a592-4406-af14-3f5a66cfedf0" providerId="ADAL" clId="{3320FFB9-F3A8-4176-AF1C-5FF8BBA63886}" dt="2025-09-09T19:58:03.675" v="376" actId="478"/>
          <ac:spMkLst>
            <pc:docMk/>
            <pc:sldMk cId="4143570774" sldId="4475"/>
            <ac:spMk id="5" creationId="{2BA6A461-545B-D694-24C7-FCC5F8046C65}"/>
          </ac:spMkLst>
        </pc:spChg>
      </pc:sldChg>
      <pc:sldChg chg="addSp delSp modSp mod">
        <pc:chgData name="Kabadi, Pooja" userId="93805713-a592-4406-af14-3f5a66cfedf0" providerId="ADAL" clId="{3320FFB9-F3A8-4176-AF1C-5FF8BBA63886}" dt="2025-09-10T20:33:35.888" v="866" actId="1076"/>
        <pc:sldMkLst>
          <pc:docMk/>
          <pc:sldMk cId="4103218570" sldId="4476"/>
        </pc:sldMkLst>
        <pc:spChg chg="del">
          <ac:chgData name="Kabadi, Pooja" userId="93805713-a592-4406-af14-3f5a66cfedf0" providerId="ADAL" clId="{3320FFB9-F3A8-4176-AF1C-5FF8BBA63886}" dt="2025-09-10T19:49:11.582" v="693" actId="478"/>
          <ac:spMkLst>
            <pc:docMk/>
            <pc:sldMk cId="4103218570" sldId="4476"/>
            <ac:spMk id="2" creationId="{35095027-885B-A5C0-27BE-BDE4F39B4021}"/>
          </ac:spMkLst>
        </pc:spChg>
        <pc:spChg chg="del">
          <ac:chgData name="Kabadi, Pooja" userId="93805713-a592-4406-af14-3f5a66cfedf0" providerId="ADAL" clId="{3320FFB9-F3A8-4176-AF1C-5FF8BBA63886}" dt="2025-09-10T19:49:11.582" v="693" actId="478"/>
          <ac:spMkLst>
            <pc:docMk/>
            <pc:sldMk cId="4103218570" sldId="4476"/>
            <ac:spMk id="3" creationId="{B0D0E2B4-F24A-1E91-7758-6FEE77F90E5D}"/>
          </ac:spMkLst>
        </pc:spChg>
        <pc:spChg chg="del">
          <ac:chgData name="Kabadi, Pooja" userId="93805713-a592-4406-af14-3f5a66cfedf0" providerId="ADAL" clId="{3320FFB9-F3A8-4176-AF1C-5FF8BBA63886}" dt="2025-09-10T19:49:11.582" v="693" actId="478"/>
          <ac:spMkLst>
            <pc:docMk/>
            <pc:sldMk cId="4103218570" sldId="4476"/>
            <ac:spMk id="4" creationId="{5975AC1F-E011-8DD3-A310-B7272124FA97}"/>
          </ac:spMkLst>
        </pc:spChg>
        <pc:spChg chg="del">
          <ac:chgData name="Kabadi, Pooja" userId="93805713-a592-4406-af14-3f5a66cfedf0" providerId="ADAL" clId="{3320FFB9-F3A8-4176-AF1C-5FF8BBA63886}" dt="2025-09-10T19:49:11.582" v="693" actId="478"/>
          <ac:spMkLst>
            <pc:docMk/>
            <pc:sldMk cId="4103218570" sldId="4476"/>
            <ac:spMk id="5" creationId="{ACAB6870-43BA-58FB-60C5-8B6E227177F5}"/>
          </ac:spMkLst>
        </pc:spChg>
        <pc:spChg chg="add mod">
          <ac:chgData name="Kabadi, Pooja" userId="93805713-a592-4406-af14-3f5a66cfedf0" providerId="ADAL" clId="{3320FFB9-F3A8-4176-AF1C-5FF8BBA63886}" dt="2025-09-10T19:55:21.082" v="754" actId="164"/>
          <ac:spMkLst>
            <pc:docMk/>
            <pc:sldMk cId="4103218570" sldId="4476"/>
            <ac:spMk id="10" creationId="{456E419D-1927-08D3-CDD8-D426AF46543B}"/>
          </ac:spMkLst>
        </pc:spChg>
        <pc:spChg chg="add mod">
          <ac:chgData name="Kabadi, Pooja" userId="93805713-a592-4406-af14-3f5a66cfedf0" providerId="ADAL" clId="{3320FFB9-F3A8-4176-AF1C-5FF8BBA63886}" dt="2025-09-10T19:55:21.082" v="754" actId="164"/>
          <ac:spMkLst>
            <pc:docMk/>
            <pc:sldMk cId="4103218570" sldId="4476"/>
            <ac:spMk id="11" creationId="{34429020-0F14-9896-E2CD-06A6330697D9}"/>
          </ac:spMkLst>
        </pc:spChg>
        <pc:spChg chg="add mod">
          <ac:chgData name="Kabadi, Pooja" userId="93805713-a592-4406-af14-3f5a66cfedf0" providerId="ADAL" clId="{3320FFB9-F3A8-4176-AF1C-5FF8BBA63886}" dt="2025-09-10T19:55:21.082" v="754" actId="164"/>
          <ac:spMkLst>
            <pc:docMk/>
            <pc:sldMk cId="4103218570" sldId="4476"/>
            <ac:spMk id="12" creationId="{16085DDB-F7EA-556B-CB5E-54565038E0FB}"/>
          </ac:spMkLst>
        </pc:spChg>
        <pc:spChg chg="add mod">
          <ac:chgData name="Kabadi, Pooja" userId="93805713-a592-4406-af14-3f5a66cfedf0" providerId="ADAL" clId="{3320FFB9-F3A8-4176-AF1C-5FF8BBA63886}" dt="2025-09-10T19:55:21.082" v="754" actId="164"/>
          <ac:spMkLst>
            <pc:docMk/>
            <pc:sldMk cId="4103218570" sldId="4476"/>
            <ac:spMk id="13" creationId="{1841DC99-B398-2605-16E9-EC08F4B6699A}"/>
          </ac:spMkLst>
        </pc:spChg>
        <pc:spChg chg="add mod">
          <ac:chgData name="Kabadi, Pooja" userId="93805713-a592-4406-af14-3f5a66cfedf0" providerId="ADAL" clId="{3320FFB9-F3A8-4176-AF1C-5FF8BBA63886}" dt="2025-09-10T19:55:21.082" v="754" actId="164"/>
          <ac:spMkLst>
            <pc:docMk/>
            <pc:sldMk cId="4103218570" sldId="4476"/>
            <ac:spMk id="14" creationId="{B00E8FC2-CD42-77B7-0221-D08337B41DF3}"/>
          </ac:spMkLst>
        </pc:spChg>
        <pc:grpChg chg="add mod">
          <ac:chgData name="Kabadi, Pooja" userId="93805713-a592-4406-af14-3f5a66cfedf0" providerId="ADAL" clId="{3320FFB9-F3A8-4176-AF1C-5FF8BBA63886}" dt="2025-09-10T20:33:35.888" v="866" actId="1076"/>
          <ac:grpSpMkLst>
            <pc:docMk/>
            <pc:sldMk cId="4103218570" sldId="4476"/>
            <ac:grpSpMk id="15" creationId="{0254FAD1-7731-A36D-4FEE-4287930DDB71}"/>
          </ac:grpSpMkLst>
        </pc:grpChg>
        <pc:graphicFrameChg chg="add del mod">
          <ac:chgData name="Kabadi, Pooja" userId="93805713-a592-4406-af14-3f5a66cfedf0" providerId="ADAL" clId="{3320FFB9-F3A8-4176-AF1C-5FF8BBA63886}" dt="2025-09-10T19:49:30.165" v="700" actId="478"/>
          <ac:graphicFrameMkLst>
            <pc:docMk/>
            <pc:sldMk cId="4103218570" sldId="4476"/>
            <ac:graphicFrameMk id="6" creationId="{485EA359-FBB3-DF21-518C-FAFE92A7D0AA}"/>
          </ac:graphicFrameMkLst>
        </pc:graphicFrameChg>
        <pc:graphicFrameChg chg="add del mod">
          <ac:chgData name="Kabadi, Pooja" userId="93805713-a592-4406-af14-3f5a66cfedf0" providerId="ADAL" clId="{3320FFB9-F3A8-4176-AF1C-5FF8BBA63886}" dt="2025-09-10T19:52:15.742" v="703" actId="21"/>
          <ac:graphicFrameMkLst>
            <pc:docMk/>
            <pc:sldMk cId="4103218570" sldId="4476"/>
            <ac:graphicFrameMk id="7" creationId="{485EA359-FBB3-DF21-518C-FAFE92A7D0AA}"/>
          </ac:graphicFrameMkLst>
        </pc:graphicFrameChg>
        <pc:graphicFrameChg chg="add mod">
          <ac:chgData name="Kabadi, Pooja" userId="93805713-a592-4406-af14-3f5a66cfedf0" providerId="ADAL" clId="{3320FFB9-F3A8-4176-AF1C-5FF8BBA63886}" dt="2025-09-10T20:06:34.919" v="804" actId="2711"/>
          <ac:graphicFrameMkLst>
            <pc:docMk/>
            <pc:sldMk cId="4103218570" sldId="4476"/>
            <ac:graphicFrameMk id="8" creationId="{485EA359-FBB3-DF21-518C-FAFE92A7D0AA}"/>
          </ac:graphicFrameMkLst>
        </pc:graphicFrameChg>
        <pc:graphicFrameChg chg="add del mod">
          <ac:chgData name="Kabadi, Pooja" userId="93805713-a592-4406-af14-3f5a66cfedf0" providerId="ADAL" clId="{3320FFB9-F3A8-4176-AF1C-5FF8BBA63886}" dt="2025-09-10T19:57:21.898" v="762" actId="478"/>
          <ac:graphicFrameMkLst>
            <pc:docMk/>
            <pc:sldMk cId="4103218570" sldId="4476"/>
            <ac:graphicFrameMk id="16" creationId="{979BFCDB-1D7C-4C57-860B-72BA108F2596}"/>
          </ac:graphicFrameMkLst>
        </pc:graphicFrameChg>
        <pc:picChg chg="add del mod">
          <ac:chgData name="Kabadi, Pooja" userId="93805713-a592-4406-af14-3f5a66cfedf0" providerId="ADAL" clId="{3320FFB9-F3A8-4176-AF1C-5FF8BBA63886}" dt="2025-09-10T19:53:19.837" v="709" actId="478"/>
          <ac:picMkLst>
            <pc:docMk/>
            <pc:sldMk cId="4103218570" sldId="4476"/>
            <ac:picMk id="9" creationId="{1D72390C-8644-16EA-46B0-0732119224F4}"/>
          </ac:picMkLst>
        </pc:picChg>
      </pc:sldChg>
      <pc:sldChg chg="addSp delSp modSp mod">
        <pc:chgData name="Kabadi, Pooja" userId="93805713-a592-4406-af14-3f5a66cfedf0" providerId="ADAL" clId="{3320FFB9-F3A8-4176-AF1C-5FF8BBA63886}" dt="2025-09-10T20:28:45.760" v="816" actId="1076"/>
        <pc:sldMkLst>
          <pc:docMk/>
          <pc:sldMk cId="1374411110" sldId="4477"/>
        </pc:sldMkLst>
        <pc:spChg chg="del">
          <ac:chgData name="Kabadi, Pooja" userId="93805713-a592-4406-af14-3f5a66cfedf0" providerId="ADAL" clId="{3320FFB9-F3A8-4176-AF1C-5FF8BBA63886}" dt="2025-09-10T20:07:29.902" v="807" actId="478"/>
          <ac:spMkLst>
            <pc:docMk/>
            <pc:sldMk cId="1374411110" sldId="4477"/>
            <ac:spMk id="2" creationId="{635357BB-3448-0618-C9AC-5CDDD9D990BC}"/>
          </ac:spMkLst>
        </pc:spChg>
        <pc:spChg chg="del">
          <ac:chgData name="Kabadi, Pooja" userId="93805713-a592-4406-af14-3f5a66cfedf0" providerId="ADAL" clId="{3320FFB9-F3A8-4176-AF1C-5FF8BBA63886}" dt="2025-09-10T20:07:29.902" v="807" actId="478"/>
          <ac:spMkLst>
            <pc:docMk/>
            <pc:sldMk cId="1374411110" sldId="4477"/>
            <ac:spMk id="3" creationId="{03654E46-2BA6-629C-CA44-CA82828139FF}"/>
          </ac:spMkLst>
        </pc:spChg>
        <pc:spChg chg="del">
          <ac:chgData name="Kabadi, Pooja" userId="93805713-a592-4406-af14-3f5a66cfedf0" providerId="ADAL" clId="{3320FFB9-F3A8-4176-AF1C-5FF8BBA63886}" dt="2025-09-10T20:07:29.902" v="807" actId="478"/>
          <ac:spMkLst>
            <pc:docMk/>
            <pc:sldMk cId="1374411110" sldId="4477"/>
            <ac:spMk id="4" creationId="{3BE42B55-1CF6-73BA-F167-962DA56A36F1}"/>
          </ac:spMkLst>
        </pc:spChg>
        <pc:spChg chg="del">
          <ac:chgData name="Kabadi, Pooja" userId="93805713-a592-4406-af14-3f5a66cfedf0" providerId="ADAL" clId="{3320FFB9-F3A8-4176-AF1C-5FF8BBA63886}" dt="2025-09-10T20:07:29.902" v="807" actId="478"/>
          <ac:spMkLst>
            <pc:docMk/>
            <pc:sldMk cId="1374411110" sldId="4477"/>
            <ac:spMk id="5" creationId="{4F0008A1-D0A3-6921-6802-43A7A9DB9EDF}"/>
          </ac:spMkLst>
        </pc:spChg>
        <pc:spChg chg="del">
          <ac:chgData name="Kabadi, Pooja" userId="93805713-a592-4406-af14-3f5a66cfedf0" providerId="ADAL" clId="{3320FFB9-F3A8-4176-AF1C-5FF8BBA63886}" dt="2025-09-10T20:07:29.902" v="807" actId="478"/>
          <ac:spMkLst>
            <pc:docMk/>
            <pc:sldMk cId="1374411110" sldId="4477"/>
            <ac:spMk id="6" creationId="{F82D27D2-28AA-C768-AF1C-CA838C18808D}"/>
          </ac:spMkLst>
        </pc:spChg>
        <pc:graphicFrameChg chg="add mod">
          <ac:chgData name="Kabadi, Pooja" userId="93805713-a592-4406-af14-3f5a66cfedf0" providerId="ADAL" clId="{3320FFB9-F3A8-4176-AF1C-5FF8BBA63886}" dt="2025-09-10T20:08:04.305" v="808"/>
          <ac:graphicFrameMkLst>
            <pc:docMk/>
            <pc:sldMk cId="1374411110" sldId="4477"/>
            <ac:graphicFrameMk id="7" creationId="{0522C036-9DEA-2386-9385-852172A7C5AD}"/>
          </ac:graphicFrameMkLst>
        </pc:graphicFrameChg>
        <pc:graphicFrameChg chg="add mod">
          <ac:chgData name="Kabadi, Pooja" userId="93805713-a592-4406-af14-3f5a66cfedf0" providerId="ADAL" clId="{3320FFB9-F3A8-4176-AF1C-5FF8BBA63886}" dt="2025-09-10T20:08:11.916" v="809"/>
          <ac:graphicFrameMkLst>
            <pc:docMk/>
            <pc:sldMk cId="1374411110" sldId="4477"/>
            <ac:graphicFrameMk id="8" creationId="{C6688CD1-606F-13FB-F8F5-C53DF721664A}"/>
          </ac:graphicFrameMkLst>
        </pc:graphicFrameChg>
        <pc:graphicFrameChg chg="add mod">
          <ac:chgData name="Kabadi, Pooja" userId="93805713-a592-4406-af14-3f5a66cfedf0" providerId="ADAL" clId="{3320FFB9-F3A8-4176-AF1C-5FF8BBA63886}" dt="2025-09-10T20:27:30.816" v="810"/>
          <ac:graphicFrameMkLst>
            <pc:docMk/>
            <pc:sldMk cId="1374411110" sldId="4477"/>
            <ac:graphicFrameMk id="9" creationId="{78F1C229-245D-7BA1-F047-7320D677058F}"/>
          </ac:graphicFrameMkLst>
        </pc:graphicFrameChg>
        <pc:graphicFrameChg chg="add del mod modGraphic">
          <ac:chgData name="Kabadi, Pooja" userId="93805713-a592-4406-af14-3f5a66cfedf0" providerId="ADAL" clId="{3320FFB9-F3A8-4176-AF1C-5FF8BBA63886}" dt="2025-09-10T20:28:30.463" v="814" actId="478"/>
          <ac:graphicFrameMkLst>
            <pc:docMk/>
            <pc:sldMk cId="1374411110" sldId="4477"/>
            <ac:graphicFrameMk id="10" creationId="{7AF97821-7495-2274-70CF-2697174A052C}"/>
          </ac:graphicFrameMkLst>
        </pc:graphicFrameChg>
        <pc:graphicFrameChg chg="add mod">
          <ac:chgData name="Kabadi, Pooja" userId="93805713-a592-4406-af14-3f5a66cfedf0" providerId="ADAL" clId="{3320FFB9-F3A8-4176-AF1C-5FF8BBA63886}" dt="2025-09-10T20:28:45.760" v="816" actId="1076"/>
          <ac:graphicFrameMkLst>
            <pc:docMk/>
            <pc:sldMk cId="1374411110" sldId="4477"/>
            <ac:graphicFrameMk id="11" creationId="{448B404E-F51B-0E05-A525-277A55BB9C21}"/>
          </ac:graphicFrameMkLst>
        </pc:graphicFrameChg>
      </pc:sldChg>
      <pc:sldChg chg="del">
        <pc:chgData name="Kabadi, Pooja" userId="93805713-a592-4406-af14-3f5a66cfedf0" providerId="ADAL" clId="{3320FFB9-F3A8-4176-AF1C-5FF8BBA63886}" dt="2025-09-10T20:32:51.168" v="862" actId="47"/>
        <pc:sldMkLst>
          <pc:docMk/>
          <pc:sldMk cId="3597407930" sldId="4478"/>
        </pc:sldMkLst>
      </pc:sldChg>
      <pc:sldChg chg="modSp del mod">
        <pc:chgData name="Kabadi, Pooja" userId="93805713-a592-4406-af14-3f5a66cfedf0" providerId="ADAL" clId="{3320FFB9-F3A8-4176-AF1C-5FF8BBA63886}" dt="2025-09-10T20:32:51.168" v="862" actId="47"/>
        <pc:sldMkLst>
          <pc:docMk/>
          <pc:sldMk cId="3707076451" sldId="4479"/>
        </pc:sldMkLst>
        <pc:spChg chg="mod">
          <ac:chgData name="Kabadi, Pooja" userId="93805713-a592-4406-af14-3f5a66cfedf0" providerId="ADAL" clId="{3320FFB9-F3A8-4176-AF1C-5FF8BBA63886}" dt="2025-09-09T20:10:32.319" v="380" actId="1076"/>
          <ac:spMkLst>
            <pc:docMk/>
            <pc:sldMk cId="3707076451" sldId="4479"/>
            <ac:spMk id="5" creationId="{3B643198-0DBD-61D7-4C18-FF9692782C5C}"/>
          </ac:spMkLst>
        </pc:spChg>
        <pc:spChg chg="mod">
          <ac:chgData name="Kabadi, Pooja" userId="93805713-a592-4406-af14-3f5a66cfedf0" providerId="ADAL" clId="{3320FFB9-F3A8-4176-AF1C-5FF8BBA63886}" dt="2025-09-09T20:44:08.568" v="432" actId="20577"/>
          <ac:spMkLst>
            <pc:docMk/>
            <pc:sldMk cId="3707076451" sldId="4479"/>
            <ac:spMk id="6" creationId="{ABA04F42-ADF6-777F-86A4-74119CEE7386}"/>
          </ac:spMkLst>
        </pc:spChg>
      </pc:sldChg>
      <pc:sldChg chg="del">
        <pc:chgData name="Kabadi, Pooja" userId="93805713-a592-4406-af14-3f5a66cfedf0" providerId="ADAL" clId="{3320FFB9-F3A8-4176-AF1C-5FF8BBA63886}" dt="2025-09-10T20:32:51.168" v="862" actId="47"/>
        <pc:sldMkLst>
          <pc:docMk/>
          <pc:sldMk cId="28268964" sldId="4480"/>
        </pc:sldMkLst>
      </pc:sldChg>
      <pc:sldChg chg="del">
        <pc:chgData name="Kabadi, Pooja" userId="93805713-a592-4406-af14-3f5a66cfedf0" providerId="ADAL" clId="{3320FFB9-F3A8-4176-AF1C-5FF8BBA63886}" dt="2025-09-10T20:32:51.168" v="862" actId="47"/>
        <pc:sldMkLst>
          <pc:docMk/>
          <pc:sldMk cId="4161694408" sldId="4481"/>
        </pc:sldMkLst>
      </pc:sldChg>
      <pc:sldChg chg="del">
        <pc:chgData name="Kabadi, Pooja" userId="93805713-a592-4406-af14-3f5a66cfedf0" providerId="ADAL" clId="{3320FFB9-F3A8-4176-AF1C-5FF8BBA63886}" dt="2025-09-10T20:32:51.168" v="862" actId="47"/>
        <pc:sldMkLst>
          <pc:docMk/>
          <pc:sldMk cId="1681118362" sldId="4482"/>
        </pc:sldMkLst>
      </pc:sldChg>
      <pc:sldChg chg="del">
        <pc:chgData name="Kabadi, Pooja" userId="93805713-a592-4406-af14-3f5a66cfedf0" providerId="ADAL" clId="{3320FFB9-F3A8-4176-AF1C-5FF8BBA63886}" dt="2025-09-10T20:32:51.168" v="862" actId="47"/>
        <pc:sldMkLst>
          <pc:docMk/>
          <pc:sldMk cId="1281251350" sldId="4483"/>
        </pc:sldMkLst>
      </pc:sldChg>
      <pc:sldChg chg="del">
        <pc:chgData name="Kabadi, Pooja" userId="93805713-a592-4406-af14-3f5a66cfedf0" providerId="ADAL" clId="{3320FFB9-F3A8-4176-AF1C-5FF8BBA63886}" dt="2025-09-10T20:32:21.306" v="861" actId="47"/>
        <pc:sldMkLst>
          <pc:docMk/>
          <pc:sldMk cId="255942604" sldId="4484"/>
        </pc:sldMkLst>
      </pc:sldChg>
      <pc:sldChg chg="del">
        <pc:chgData name="Kabadi, Pooja" userId="93805713-a592-4406-af14-3f5a66cfedf0" providerId="ADAL" clId="{3320FFB9-F3A8-4176-AF1C-5FF8BBA63886}" dt="2025-09-10T20:32:21.306" v="861" actId="47"/>
        <pc:sldMkLst>
          <pc:docMk/>
          <pc:sldMk cId="337560371" sldId="4485"/>
        </pc:sldMkLst>
      </pc:sldChg>
      <pc:sldChg chg="del">
        <pc:chgData name="Kabadi, Pooja" userId="93805713-a592-4406-af14-3f5a66cfedf0" providerId="ADAL" clId="{3320FFB9-F3A8-4176-AF1C-5FF8BBA63886}" dt="2025-09-10T20:32:21.306" v="861" actId="47"/>
        <pc:sldMkLst>
          <pc:docMk/>
          <pc:sldMk cId="2089303747" sldId="4486"/>
        </pc:sldMkLst>
      </pc:sldChg>
      <pc:sldChg chg="del">
        <pc:chgData name="Kabadi, Pooja" userId="93805713-a592-4406-af14-3f5a66cfedf0" providerId="ADAL" clId="{3320FFB9-F3A8-4176-AF1C-5FF8BBA63886}" dt="2025-09-10T20:33:12.509" v="864" actId="47"/>
        <pc:sldMkLst>
          <pc:docMk/>
          <pc:sldMk cId="981898992" sldId="4488"/>
        </pc:sldMkLst>
      </pc:sldChg>
      <pc:sldChg chg="del">
        <pc:chgData name="Kabadi, Pooja" userId="93805713-a592-4406-af14-3f5a66cfedf0" providerId="ADAL" clId="{3320FFB9-F3A8-4176-AF1C-5FF8BBA63886}" dt="2025-09-10T20:32:21.306" v="861" actId="47"/>
        <pc:sldMkLst>
          <pc:docMk/>
          <pc:sldMk cId="419552388" sldId="4491"/>
        </pc:sldMkLst>
      </pc:sldChg>
      <pc:sldChg chg="del">
        <pc:chgData name="Kabadi, Pooja" userId="93805713-a592-4406-af14-3f5a66cfedf0" providerId="ADAL" clId="{3320FFB9-F3A8-4176-AF1C-5FF8BBA63886}" dt="2025-09-10T20:33:01.791" v="863" actId="47"/>
        <pc:sldMkLst>
          <pc:docMk/>
          <pc:sldMk cId="2258267686" sldId="4492"/>
        </pc:sldMkLst>
      </pc:sldChg>
      <pc:sldChg chg="del">
        <pc:chgData name="Kabadi, Pooja" userId="93805713-a592-4406-af14-3f5a66cfedf0" providerId="ADAL" clId="{3320FFB9-F3A8-4176-AF1C-5FF8BBA63886}" dt="2025-09-10T20:32:51.168" v="862" actId="47"/>
        <pc:sldMkLst>
          <pc:docMk/>
          <pc:sldMk cId="3118184911" sldId="4493"/>
        </pc:sldMkLst>
      </pc:sldChg>
      <pc:sldChg chg="del">
        <pc:chgData name="Kabadi, Pooja" userId="93805713-a592-4406-af14-3f5a66cfedf0" providerId="ADAL" clId="{3320FFB9-F3A8-4176-AF1C-5FF8BBA63886}" dt="2025-09-10T20:33:01.791" v="863" actId="47"/>
        <pc:sldMkLst>
          <pc:docMk/>
          <pc:sldMk cId="2761663142" sldId="4494"/>
        </pc:sldMkLst>
      </pc:sldChg>
      <pc:sldChg chg="del">
        <pc:chgData name="Kabadi, Pooja" userId="93805713-a592-4406-af14-3f5a66cfedf0" providerId="ADAL" clId="{3320FFB9-F3A8-4176-AF1C-5FF8BBA63886}" dt="2025-09-10T20:32:51.168" v="862" actId="47"/>
        <pc:sldMkLst>
          <pc:docMk/>
          <pc:sldMk cId="4221233332" sldId="4495"/>
        </pc:sldMkLst>
      </pc:sldChg>
      <pc:sldChg chg="del">
        <pc:chgData name="Kabadi, Pooja" userId="93805713-a592-4406-af14-3f5a66cfedf0" providerId="ADAL" clId="{3320FFB9-F3A8-4176-AF1C-5FF8BBA63886}" dt="2025-09-10T20:33:01.791" v="863" actId="47"/>
        <pc:sldMkLst>
          <pc:docMk/>
          <pc:sldMk cId="2811932053" sldId="4496"/>
        </pc:sldMkLst>
      </pc:sldChg>
      <pc:sldChg chg="del">
        <pc:chgData name="Kabadi, Pooja" userId="93805713-a592-4406-af14-3f5a66cfedf0" providerId="ADAL" clId="{3320FFB9-F3A8-4176-AF1C-5FF8BBA63886}" dt="2025-09-10T20:33:12.509" v="864" actId="47"/>
        <pc:sldMkLst>
          <pc:docMk/>
          <pc:sldMk cId="3746332498" sldId="4497"/>
        </pc:sldMkLst>
      </pc:sldChg>
      <pc:sldChg chg="del">
        <pc:chgData name="Kabadi, Pooja" userId="93805713-a592-4406-af14-3f5a66cfedf0" providerId="ADAL" clId="{3320FFB9-F3A8-4176-AF1C-5FF8BBA63886}" dt="2025-09-10T20:33:12.509" v="864" actId="47"/>
        <pc:sldMkLst>
          <pc:docMk/>
          <pc:sldMk cId="3071326060" sldId="4498"/>
        </pc:sldMkLst>
      </pc:sldChg>
      <pc:sldChg chg="add del">
        <pc:chgData name="Kabadi, Pooja" userId="93805713-a592-4406-af14-3f5a66cfedf0" providerId="ADAL" clId="{3320FFB9-F3A8-4176-AF1C-5FF8BBA63886}" dt="2025-09-10T20:32:21.306" v="861" actId="47"/>
        <pc:sldMkLst>
          <pc:docMk/>
          <pc:sldMk cId="2591078963" sldId="4499"/>
        </pc:sldMkLst>
      </pc:sldChg>
      <pc:sldChg chg="delSp modSp add mod">
        <pc:chgData name="Kabadi, Pooja" userId="93805713-a592-4406-af14-3f5a66cfedf0" providerId="ADAL" clId="{3320FFB9-F3A8-4176-AF1C-5FF8BBA63886}" dt="2025-09-10T20:33:51.883" v="869" actId="1076"/>
        <pc:sldMkLst>
          <pc:docMk/>
          <pc:sldMk cId="317029690" sldId="4500"/>
        </pc:sldMkLst>
        <pc:grpChg chg="del">
          <ac:chgData name="Kabadi, Pooja" userId="93805713-a592-4406-af14-3f5a66cfedf0" providerId="ADAL" clId="{3320FFB9-F3A8-4176-AF1C-5FF8BBA63886}" dt="2025-09-10T19:57:25.391" v="763" actId="478"/>
          <ac:grpSpMkLst>
            <pc:docMk/>
            <pc:sldMk cId="317029690" sldId="4500"/>
            <ac:grpSpMk id="15" creationId="{3E14B4C4-40C2-5B49-E4B7-7BC856332D88}"/>
          </ac:grpSpMkLst>
        </pc:grpChg>
        <pc:graphicFrameChg chg="mod">
          <ac:chgData name="Kabadi, Pooja" userId="93805713-a592-4406-af14-3f5a66cfedf0" providerId="ADAL" clId="{3320FFB9-F3A8-4176-AF1C-5FF8BBA63886}" dt="2025-09-10T20:33:51.883" v="869" actId="1076"/>
          <ac:graphicFrameMkLst>
            <pc:docMk/>
            <pc:sldMk cId="317029690" sldId="4500"/>
            <ac:graphicFrameMk id="16" creationId="{783E3C7A-C057-C919-B117-C41FF89C4ED5}"/>
          </ac:graphicFrameMkLst>
        </pc:graphicFrameChg>
      </pc:sldChg>
      <pc:sldChg chg="addSp delSp modSp add mod">
        <pc:chgData name="Kabadi, Pooja" userId="93805713-a592-4406-af14-3f5a66cfedf0" providerId="ADAL" clId="{3320FFB9-F3A8-4176-AF1C-5FF8BBA63886}" dt="2025-09-10T20:07:00.758" v="806" actId="14100"/>
        <pc:sldMkLst>
          <pc:docMk/>
          <pc:sldMk cId="1523355156" sldId="4501"/>
        </pc:sldMkLst>
        <pc:graphicFrameChg chg="add mod">
          <ac:chgData name="Kabadi, Pooja" userId="93805713-a592-4406-af14-3f5a66cfedf0" providerId="ADAL" clId="{3320FFB9-F3A8-4176-AF1C-5FF8BBA63886}" dt="2025-09-10T20:07:00.758" v="806" actId="14100"/>
          <ac:graphicFrameMkLst>
            <pc:docMk/>
            <pc:sldMk cId="1523355156" sldId="4501"/>
            <ac:graphicFrameMk id="2" creationId="{AD37935A-6E8E-498B-A52F-543025BA49A1}"/>
          </ac:graphicFrameMkLst>
        </pc:graphicFrameChg>
        <pc:graphicFrameChg chg="del">
          <ac:chgData name="Kabadi, Pooja" userId="93805713-a592-4406-af14-3f5a66cfedf0" providerId="ADAL" clId="{3320FFB9-F3A8-4176-AF1C-5FF8BBA63886}" dt="2025-09-10T20:04:36.204" v="780" actId="478"/>
          <ac:graphicFrameMkLst>
            <pc:docMk/>
            <pc:sldMk cId="1523355156" sldId="4501"/>
            <ac:graphicFrameMk id="16" creationId="{1AD58FCF-575E-5C90-FC07-102716AE50C4}"/>
          </ac:graphicFrameMkLst>
        </pc:graphicFrameChg>
      </pc:sldChg>
      <pc:sldChg chg="addSp delSp modSp add mod">
        <pc:chgData name="Kabadi, Pooja" userId="93805713-a592-4406-af14-3f5a66cfedf0" providerId="ADAL" clId="{3320FFB9-F3A8-4176-AF1C-5FF8BBA63886}" dt="2025-09-10T20:34:00.899" v="870" actId="1076"/>
        <pc:sldMkLst>
          <pc:docMk/>
          <pc:sldMk cId="277844104" sldId="4502"/>
        </pc:sldMkLst>
        <pc:graphicFrameChg chg="add mod">
          <ac:chgData name="Kabadi, Pooja" userId="93805713-a592-4406-af14-3f5a66cfedf0" providerId="ADAL" clId="{3320FFB9-F3A8-4176-AF1C-5FF8BBA63886}" dt="2025-09-10T20:34:00.899" v="870" actId="1076"/>
          <ac:graphicFrameMkLst>
            <pc:docMk/>
            <pc:sldMk cId="277844104" sldId="4502"/>
            <ac:graphicFrameMk id="2" creationId="{60F960D3-6E35-459C-B5B7-13B374C39146}"/>
          </ac:graphicFrameMkLst>
        </pc:graphicFrameChg>
        <pc:graphicFrameChg chg="del">
          <ac:chgData name="Kabadi, Pooja" userId="93805713-a592-4406-af14-3f5a66cfedf0" providerId="ADAL" clId="{3320FFB9-F3A8-4176-AF1C-5FF8BBA63886}" dt="2025-09-10T20:29:17.010" v="818" actId="478"/>
          <ac:graphicFrameMkLst>
            <pc:docMk/>
            <pc:sldMk cId="277844104" sldId="4502"/>
            <ac:graphicFrameMk id="11" creationId="{4A2BBB6E-E4CD-26C8-A26E-04EF37ACED99}"/>
          </ac:graphicFrameMkLst>
        </pc:graphicFrameChg>
      </pc:sldChg>
      <pc:sldChg chg="addSp delSp modSp add mod">
        <pc:chgData name="Kabadi, Pooja" userId="93805713-a592-4406-af14-3f5a66cfedf0" providerId="ADAL" clId="{3320FFB9-F3A8-4176-AF1C-5FF8BBA63886}" dt="2025-09-10T20:34:39.665" v="882" actId="1076"/>
        <pc:sldMkLst>
          <pc:docMk/>
          <pc:sldMk cId="1577342861" sldId="4503"/>
        </pc:sldMkLst>
        <pc:graphicFrameChg chg="del">
          <ac:chgData name="Kabadi, Pooja" userId="93805713-a592-4406-af14-3f5a66cfedf0" providerId="ADAL" clId="{3320FFB9-F3A8-4176-AF1C-5FF8BBA63886}" dt="2025-09-10T20:30:00.715" v="826" actId="478"/>
          <ac:graphicFrameMkLst>
            <pc:docMk/>
            <pc:sldMk cId="1577342861" sldId="4503"/>
            <ac:graphicFrameMk id="2" creationId="{F3A03E1F-290D-822F-97C3-681BFD518D9A}"/>
          </ac:graphicFrameMkLst>
        </pc:graphicFrameChg>
        <pc:graphicFrameChg chg="add mod">
          <ac:chgData name="Kabadi, Pooja" userId="93805713-a592-4406-af14-3f5a66cfedf0" providerId="ADAL" clId="{3320FFB9-F3A8-4176-AF1C-5FF8BBA63886}" dt="2025-09-10T20:34:39.665" v="882" actId="1076"/>
          <ac:graphicFrameMkLst>
            <pc:docMk/>
            <pc:sldMk cId="1577342861" sldId="4503"/>
            <ac:graphicFrameMk id="3" creationId="{D54331CD-603D-4F32-9BE3-2F19C187E586}"/>
          </ac:graphicFrameMkLst>
        </pc:graphicFrameChg>
      </pc:sldChg>
      <pc:sldChg chg="addSp delSp modSp add mod">
        <pc:chgData name="Kabadi, Pooja" userId="93805713-a592-4406-af14-3f5a66cfedf0" providerId="ADAL" clId="{3320FFB9-F3A8-4176-AF1C-5FF8BBA63886}" dt="2025-09-10T20:38:04.932" v="917" actId="404"/>
        <pc:sldMkLst>
          <pc:docMk/>
          <pc:sldMk cId="3679005979" sldId="4504"/>
        </pc:sldMkLst>
        <pc:graphicFrameChg chg="add mod">
          <ac:chgData name="Kabadi, Pooja" userId="93805713-a592-4406-af14-3f5a66cfedf0" providerId="ADAL" clId="{3320FFB9-F3A8-4176-AF1C-5FF8BBA63886}" dt="2025-09-10T20:38:04.932" v="917" actId="404"/>
          <ac:graphicFrameMkLst>
            <pc:docMk/>
            <pc:sldMk cId="3679005979" sldId="4504"/>
            <ac:graphicFrameMk id="2" creationId="{128B4794-E609-4821-8CC9-EBE5B74EF88B}"/>
          </ac:graphicFrameMkLst>
        </pc:graphicFrameChg>
        <pc:graphicFrameChg chg="del">
          <ac:chgData name="Kabadi, Pooja" userId="93805713-a592-4406-af14-3f5a66cfedf0" providerId="ADAL" clId="{3320FFB9-F3A8-4176-AF1C-5FF8BBA63886}" dt="2025-09-10T20:30:16.829" v="830" actId="478"/>
          <ac:graphicFrameMkLst>
            <pc:docMk/>
            <pc:sldMk cId="3679005979" sldId="4504"/>
            <ac:graphicFrameMk id="3" creationId="{5C8FE28E-A3EE-1502-E99B-DD3333D476A6}"/>
          </ac:graphicFrameMkLst>
        </pc:graphicFrameChg>
        <pc:graphicFrameChg chg="add del mod">
          <ac:chgData name="Kabadi, Pooja" userId="93805713-a592-4406-af14-3f5a66cfedf0" providerId="ADAL" clId="{3320FFB9-F3A8-4176-AF1C-5FF8BBA63886}" dt="2025-09-10T20:35:16.883" v="891" actId="21"/>
          <ac:graphicFrameMkLst>
            <pc:docMk/>
            <pc:sldMk cId="3679005979" sldId="4504"/>
            <ac:graphicFrameMk id="4" creationId="{79D3D3A8-1A4D-4E0A-B12E-EB4EFFCB2D03}"/>
          </ac:graphicFrameMkLst>
        </pc:graphicFrameChg>
        <pc:graphicFrameChg chg="add mod">
          <ac:chgData name="Kabadi, Pooja" userId="93805713-a592-4406-af14-3f5a66cfedf0" providerId="ADAL" clId="{3320FFB9-F3A8-4176-AF1C-5FF8BBA63886}" dt="2025-09-10T20:37:41.997" v="913" actId="1076"/>
          <ac:graphicFrameMkLst>
            <pc:docMk/>
            <pc:sldMk cId="3679005979" sldId="4504"/>
            <ac:graphicFrameMk id="5" creationId="{A9D11D72-D6C8-490E-8713-C18D1B648FA7}"/>
          </ac:graphicFrameMkLst>
        </pc:graphicFrameChg>
        <pc:graphicFrameChg chg="add del mod">
          <ac:chgData name="Kabadi, Pooja" userId="93805713-a592-4406-af14-3f5a66cfedf0" providerId="ADAL" clId="{3320FFB9-F3A8-4176-AF1C-5FF8BBA63886}" dt="2025-09-10T20:35:45.374" v="904" actId="21"/>
          <ac:graphicFrameMkLst>
            <pc:docMk/>
            <pc:sldMk cId="3679005979" sldId="4504"/>
            <ac:graphicFrameMk id="6" creationId="{7F83AD68-0A48-41B7-BC0E-A6FC38013CA9}"/>
          </ac:graphicFrameMkLst>
        </pc:graphicFrameChg>
        <pc:graphicFrameChg chg="add mod">
          <ac:chgData name="Kabadi, Pooja" userId="93805713-a592-4406-af14-3f5a66cfedf0" providerId="ADAL" clId="{3320FFB9-F3A8-4176-AF1C-5FF8BBA63886}" dt="2025-09-10T20:37:38.213" v="912" actId="1076"/>
          <ac:graphicFrameMkLst>
            <pc:docMk/>
            <pc:sldMk cId="3679005979" sldId="4504"/>
            <ac:graphicFrameMk id="7" creationId="{79D3D3A8-1A4D-4E0A-B12E-EB4EFFCB2D03}"/>
          </ac:graphicFrameMkLst>
        </pc:graphicFrameChg>
        <pc:graphicFrameChg chg="add mod">
          <ac:chgData name="Kabadi, Pooja" userId="93805713-a592-4406-af14-3f5a66cfedf0" providerId="ADAL" clId="{3320FFB9-F3A8-4176-AF1C-5FF8BBA63886}" dt="2025-09-10T20:37:34.388" v="911" actId="1076"/>
          <ac:graphicFrameMkLst>
            <pc:docMk/>
            <pc:sldMk cId="3679005979" sldId="4504"/>
            <ac:graphicFrameMk id="8" creationId="{7F83AD68-0A48-41B7-BC0E-A6FC38013CA9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cotiviti-my.sharepoint.com/personal/pooja_kabadi_cotiviti_com1/Documents/Pooja/EnM/Final%20Descriptive/E&amp;M%20Initial%20Descriptive%20analysis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cotiviti-my.sharepoint.com/personal/pooja_kabadi_cotiviti_com1/Documents/Pooja/EnM/Final%20Descriptive/E&amp;M%20Initial%20Descriptive%20analysis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https://cotiviti-my.sharepoint.com/personal/pooja_kabadi_cotiviti_com1/Documents/Pooja/EnM/Final%20Descriptive/E&amp;M%20Initial%20Descriptive%20analysis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https://cotiviti-my.sharepoint.com/personal/pooja_kabadi_cotiviti_com1/Documents/Pooja/EnM/Final%20Descriptive/E&amp;M%20Initial%20Descriptive%20analysis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https://cotiviti-my.sharepoint.com/personal/pooja_kabadi_cotiviti_com1/Documents/Pooja/EnM/Final%20Descriptive/E&amp;M%20Initial%20Descriptive%20analysis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https://cotiviti-my.sharepoint.com/personal/pooja_kabadi_cotiviti_com1/Documents/Pooja/EnM/Final%20Descriptive/E&amp;M%20Initial%20Descriptive%20analysis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https://cotiviti-my.sharepoint.com/personal/pooja_kabadi_cotiviti_com1/Documents/Pooja/EnM/Final%20Descriptive/E&amp;M%20Initial%20Descriptive%20analysis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https://cotiviti-my.sharepoint.com/personal/pooja_kabadi_cotiviti_com1/Documents/Pooja/EnM/Final%20Descriptive/E&amp;M%20Initial%20Descriptive%20analysis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https://cotiviti-my.sharepoint.com/personal/pooja_kabadi_cotiviti_com1/Documents/Pooja/EnM/Final%20Descriptive/E&amp;M%20Initial%20Descriptive%20analysis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E&amp;M Initial Descriptive analysis.xlsx]Proc_Family!PivotTable15</c:name>
    <c:fmtId val="8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b="1">
                <a:latin typeface="Aptos" panose="020B0004020202020204" pitchFamily="34" charset="0"/>
              </a:rPr>
              <a:t>Distribution of Diagnosis across LO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ivotFmts>
      <c:pivotFmt>
        <c:idx val="0"/>
        <c:spPr>
          <a:solidFill>
            <a:schemeClr val="bg1">
              <a:lumMod val="75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rgbClr val="C2BFE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rgbClr val="7A73BB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rgbClr val="615B97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rgbClr val="31006F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rgbClr val="7A73BB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"/>
        <c:spPr>
          <a:solidFill>
            <a:srgbClr val="C2BFE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rgbClr val="615B97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8"/>
        <c:spPr>
          <a:solidFill>
            <a:srgbClr val="31006F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"/>
        <c:spPr>
          <a:solidFill>
            <a:schemeClr val="bg1">
              <a:lumMod val="75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0"/>
        <c:spPr>
          <a:solidFill>
            <a:srgbClr val="7A73BB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1"/>
        <c:spPr>
          <a:solidFill>
            <a:srgbClr val="C2BFE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2"/>
        <c:spPr>
          <a:solidFill>
            <a:srgbClr val="615B97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3"/>
        <c:spPr>
          <a:solidFill>
            <a:srgbClr val="31006F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4"/>
        <c:spPr>
          <a:solidFill>
            <a:schemeClr val="bg1">
              <a:lumMod val="75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Proc_Family!$O$4</c:f>
              <c:strCache>
                <c:ptCount val="1"/>
                <c:pt idx="0">
                  <c:v>LOS 3  </c:v>
                </c:pt>
              </c:strCache>
            </c:strRef>
          </c:tx>
          <c:spPr>
            <a:solidFill>
              <a:srgbClr val="9579D3"/>
            </a:solidFill>
            <a:ln>
              <a:solidFill>
                <a:srgbClr val="9579D3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roc_Family!$O$5</c:f>
              <c:strCache>
                <c:ptCount val="1"/>
                <c:pt idx="0">
                  <c:v>Total</c:v>
                </c:pt>
              </c:strCache>
            </c:strRef>
          </c:cat>
          <c:val>
            <c:numRef>
              <c:f>Proc_Family!$O$5</c:f>
              <c:numCache>
                <c:formatCode>0%</c:formatCode>
                <c:ptCount val="1"/>
                <c:pt idx="0">
                  <c:v>0.438638570686148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6F1-4494-80C2-C19A2588D319}"/>
            </c:ext>
          </c:extLst>
        </c:ser>
        <c:ser>
          <c:idx val="1"/>
          <c:order val="1"/>
          <c:tx>
            <c:strRef>
              <c:f>Proc_Family!$P$4</c:f>
              <c:strCache>
                <c:ptCount val="1"/>
                <c:pt idx="0">
                  <c:v>LOS 2  </c:v>
                </c:pt>
              </c:strCache>
            </c:strRef>
          </c:tx>
          <c:spPr>
            <a:solidFill>
              <a:srgbClr val="C2BFE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roc_Family!$O$5</c:f>
              <c:strCache>
                <c:ptCount val="1"/>
                <c:pt idx="0">
                  <c:v>Total</c:v>
                </c:pt>
              </c:strCache>
            </c:strRef>
          </c:cat>
          <c:val>
            <c:numRef>
              <c:f>Proc_Family!$P$5</c:f>
              <c:numCache>
                <c:formatCode>0%</c:formatCode>
                <c:ptCount val="1"/>
                <c:pt idx="0">
                  <c:v>0.347191501527257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6F1-4494-80C2-C19A2588D319}"/>
            </c:ext>
          </c:extLst>
        </c:ser>
        <c:ser>
          <c:idx val="2"/>
          <c:order val="2"/>
          <c:tx>
            <c:strRef>
              <c:f>Proc_Family!$Q$4</c:f>
              <c:strCache>
                <c:ptCount val="1"/>
                <c:pt idx="0">
                  <c:v>LOS 4  </c:v>
                </c:pt>
              </c:strCache>
            </c:strRef>
          </c:tx>
          <c:spPr>
            <a:solidFill>
              <a:srgbClr val="EC008C"/>
            </a:solidFill>
            <a:ln>
              <a:solidFill>
                <a:srgbClr val="EC008C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roc_Family!$O$5</c:f>
              <c:strCache>
                <c:ptCount val="1"/>
                <c:pt idx="0">
                  <c:v>Total</c:v>
                </c:pt>
              </c:strCache>
            </c:strRef>
          </c:cat>
          <c:val>
            <c:numRef>
              <c:f>Proc_Family!$Q$5</c:f>
              <c:numCache>
                <c:formatCode>0%</c:formatCode>
                <c:ptCount val="1"/>
                <c:pt idx="0">
                  <c:v>0.185650319977499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6F1-4494-80C2-C19A2588D319}"/>
            </c:ext>
          </c:extLst>
        </c:ser>
        <c:ser>
          <c:idx val="3"/>
          <c:order val="3"/>
          <c:tx>
            <c:strRef>
              <c:f>Proc_Family!$R$4</c:f>
              <c:strCache>
                <c:ptCount val="1"/>
                <c:pt idx="0">
                  <c:v>LOS 5  </c:v>
                </c:pt>
              </c:strCache>
            </c:strRef>
          </c:tx>
          <c:spPr>
            <a:solidFill>
              <a:srgbClr val="31006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roc_Family!$O$5</c:f>
              <c:strCache>
                <c:ptCount val="1"/>
                <c:pt idx="0">
                  <c:v>Total</c:v>
                </c:pt>
              </c:strCache>
            </c:strRef>
          </c:cat>
          <c:val>
            <c:numRef>
              <c:f>Proc_Family!$R$5</c:f>
              <c:numCache>
                <c:formatCode>0%</c:formatCode>
                <c:ptCount val="1"/>
                <c:pt idx="0">
                  <c:v>2.851960780909456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6F1-4494-80C2-C19A2588D319}"/>
            </c:ext>
          </c:extLst>
        </c:ser>
        <c:ser>
          <c:idx val="4"/>
          <c:order val="4"/>
          <c:tx>
            <c:strRef>
              <c:f>Proc_Family!$S$4</c:f>
              <c:strCache>
                <c:ptCount val="1"/>
                <c:pt idx="0">
                  <c:v>LOS 1 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roc_Family!$O$5</c:f>
              <c:strCache>
                <c:ptCount val="1"/>
                <c:pt idx="0">
                  <c:v>Total</c:v>
                </c:pt>
              </c:strCache>
            </c:strRef>
          </c:cat>
          <c:val>
            <c:numRef>
              <c:f>Proc_Family!$S$5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6F1-4494-80C2-C19A2588D31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2111663983"/>
        <c:axId val="2111667343"/>
      </c:barChart>
      <c:catAx>
        <c:axId val="2111663983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111667343"/>
        <c:crosses val="autoZero"/>
        <c:auto val="1"/>
        <c:lblAlgn val="ctr"/>
        <c:lblOffset val="100"/>
        <c:noMultiLvlLbl val="0"/>
      </c:catAx>
      <c:valAx>
        <c:axId val="2111667343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crossAx val="211166398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ptos" panose="020B0004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E&amp;M Initial Descriptive analysis.xlsx]Proc_Family!PivotTable13</c:name>
    <c:fmtId val="10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b="1">
                <a:latin typeface="Aptos" panose="020B0004020202020204" pitchFamily="34" charset="0"/>
              </a:rPr>
              <a:t>Procedural</a:t>
            </a:r>
            <a:r>
              <a:rPr lang="en-US" sz="1200" b="1" baseline="0">
                <a:latin typeface="Aptos" panose="020B0004020202020204" pitchFamily="34" charset="0"/>
              </a:rPr>
              <a:t> Family vs LOS</a:t>
            </a:r>
            <a:endParaRPr lang="en-US" sz="1200" b="1">
              <a:latin typeface="Aptos" panose="020B0004020202020204" pitchFamily="34" charset="0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0"/>
        <c:spPr>
          <a:solidFill>
            <a:schemeClr val="bg1">
              <a:lumMod val="75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1"/>
        <c:spPr>
          <a:solidFill>
            <a:srgbClr val="C2BFE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2"/>
        <c:spPr>
          <a:solidFill>
            <a:srgbClr val="7A73BB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3"/>
        <c:spPr>
          <a:solidFill>
            <a:srgbClr val="615B97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4"/>
        <c:spPr>
          <a:solidFill>
            <a:srgbClr val="31006F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5"/>
        <c:spPr>
          <a:solidFill>
            <a:srgbClr val="615B97"/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EDAF3BDD-AE8C-4424-8223-7F8A4F1C9448}" type="VALUE">
                  <a:rPr lang="en-US">
                    <a:solidFill>
                      <a:schemeClr val="bg1"/>
                    </a:solidFill>
                  </a:rPr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VALU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showDataLabelsRange val="0"/>
            </c:ext>
          </c:extLst>
        </c:dLbl>
      </c:pivotFmt>
      <c:pivotFmt>
        <c:idx val="16"/>
        <c:spPr>
          <a:solidFill>
            <a:schemeClr val="bg1">
              <a:lumMod val="75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7"/>
        <c:spPr>
          <a:solidFill>
            <a:srgbClr val="C2BFE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8"/>
        <c:spPr>
          <a:solidFill>
            <a:srgbClr val="7A73BB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9"/>
        <c:spPr>
          <a:solidFill>
            <a:srgbClr val="615B97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0"/>
        <c:spPr>
          <a:solidFill>
            <a:srgbClr val="615B97"/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EDAF3BDD-AE8C-4424-8223-7F8A4F1C9448}" type="VALUE">
                  <a:rPr lang="en-US">
                    <a:solidFill>
                      <a:schemeClr val="bg1"/>
                    </a:solidFill>
                  </a:rPr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VALU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showDataLabelsRange val="0"/>
            </c:ext>
          </c:extLst>
        </c:dLbl>
      </c:pivotFmt>
      <c:pivotFmt>
        <c:idx val="21"/>
        <c:spPr>
          <a:solidFill>
            <a:srgbClr val="31006F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2"/>
        <c:spPr>
          <a:solidFill>
            <a:schemeClr val="bg1">
              <a:lumMod val="75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3"/>
        <c:spPr>
          <a:solidFill>
            <a:srgbClr val="C2BFE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4"/>
        <c:spPr>
          <a:solidFill>
            <a:srgbClr val="7A73BB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5"/>
        <c:spPr>
          <a:solidFill>
            <a:srgbClr val="615B97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6"/>
        <c:spPr>
          <a:solidFill>
            <a:srgbClr val="615B97"/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EDAF3BDD-AE8C-4424-8223-7F8A4F1C9448}" type="VALUE">
                  <a:rPr lang="en-US">
                    <a:solidFill>
                      <a:schemeClr val="bg1"/>
                    </a:solidFill>
                  </a:rPr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VALU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showDataLabelsRange val="0"/>
            </c:ext>
          </c:extLst>
        </c:dLbl>
      </c:pivotFmt>
      <c:pivotFmt>
        <c:idx val="27"/>
        <c:spPr>
          <a:solidFill>
            <a:srgbClr val="31006F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Proc_Family!$I$10</c:f>
              <c:strCache>
                <c:ptCount val="1"/>
                <c:pt idx="0">
                  <c:v>LOS 1 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roc_Family!$H$11:$H$17</c:f>
              <c:strCache>
                <c:ptCount val="7"/>
                <c:pt idx="0">
                  <c:v>Established</c:v>
                </c:pt>
                <c:pt idx="1">
                  <c:v>Eye Exam</c:v>
                </c:pt>
                <c:pt idx="2">
                  <c:v>Inpatient</c:v>
                </c:pt>
                <c:pt idx="3">
                  <c:v>New Patient</c:v>
                </c:pt>
                <c:pt idx="4">
                  <c:v>Observation</c:v>
                </c:pt>
                <c:pt idx="5">
                  <c:v>Outpatient</c:v>
                </c:pt>
                <c:pt idx="6">
                  <c:v>Transitional Care</c:v>
                </c:pt>
              </c:strCache>
            </c:strRef>
          </c:cat>
          <c:val>
            <c:numRef>
              <c:f>Proc_Family!$I$11:$I$17</c:f>
              <c:numCache>
                <c:formatCode>General</c:formatCode>
                <c:ptCount val="7"/>
              </c:numCache>
            </c:numRef>
          </c:val>
          <c:extLst>
            <c:ext xmlns:c16="http://schemas.microsoft.com/office/drawing/2014/chart" uri="{C3380CC4-5D6E-409C-BE32-E72D297353CC}">
              <c16:uniqueId val="{00000000-34D3-40D4-9EE4-B3955058620D}"/>
            </c:ext>
          </c:extLst>
        </c:ser>
        <c:ser>
          <c:idx val="1"/>
          <c:order val="1"/>
          <c:tx>
            <c:strRef>
              <c:f>Proc_Family!$J$10</c:f>
              <c:strCache>
                <c:ptCount val="1"/>
                <c:pt idx="0">
                  <c:v>LOS 2 </c:v>
                </c:pt>
              </c:strCache>
            </c:strRef>
          </c:tx>
          <c:spPr>
            <a:solidFill>
              <a:srgbClr val="C2BFE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roc_Family!$H$11:$H$17</c:f>
              <c:strCache>
                <c:ptCount val="7"/>
                <c:pt idx="0">
                  <c:v>Established</c:v>
                </c:pt>
                <c:pt idx="1">
                  <c:v>Eye Exam</c:v>
                </c:pt>
                <c:pt idx="2">
                  <c:v>Inpatient</c:v>
                </c:pt>
                <c:pt idx="3">
                  <c:v>New Patient</c:v>
                </c:pt>
                <c:pt idx="4">
                  <c:v>Observation</c:v>
                </c:pt>
                <c:pt idx="5">
                  <c:v>Outpatient</c:v>
                </c:pt>
                <c:pt idx="6">
                  <c:v>Transitional Care</c:v>
                </c:pt>
              </c:strCache>
            </c:strRef>
          </c:cat>
          <c:val>
            <c:numRef>
              <c:f>Proc_Family!$J$11:$J$17</c:f>
              <c:numCache>
                <c:formatCode>0%</c:formatCode>
                <c:ptCount val="7"/>
                <c:pt idx="1">
                  <c:v>0.72256759102547408</c:v>
                </c:pt>
                <c:pt idx="2">
                  <c:v>0.45811363537733801</c:v>
                </c:pt>
                <c:pt idx="3">
                  <c:v>0.17339006588683389</c:v>
                </c:pt>
                <c:pt idx="4">
                  <c:v>0.92605718912778123</c:v>
                </c:pt>
                <c:pt idx="6">
                  <c:v>0.866782587840268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4D3-40D4-9EE4-B3955058620D}"/>
            </c:ext>
          </c:extLst>
        </c:ser>
        <c:ser>
          <c:idx val="2"/>
          <c:order val="2"/>
          <c:tx>
            <c:strRef>
              <c:f>Proc_Family!$K$10</c:f>
              <c:strCache>
                <c:ptCount val="1"/>
                <c:pt idx="0">
                  <c:v>LOS 3 </c:v>
                </c:pt>
              </c:strCache>
            </c:strRef>
          </c:tx>
          <c:spPr>
            <a:solidFill>
              <a:srgbClr val="9579D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roc_Family!$H$11:$H$17</c:f>
              <c:strCache>
                <c:ptCount val="7"/>
                <c:pt idx="0">
                  <c:v>Established</c:v>
                </c:pt>
                <c:pt idx="1">
                  <c:v>Eye Exam</c:v>
                </c:pt>
                <c:pt idx="2">
                  <c:v>Inpatient</c:v>
                </c:pt>
                <c:pt idx="3">
                  <c:v>New Patient</c:v>
                </c:pt>
                <c:pt idx="4">
                  <c:v>Observation</c:v>
                </c:pt>
                <c:pt idx="5">
                  <c:v>Outpatient</c:v>
                </c:pt>
                <c:pt idx="6">
                  <c:v>Transitional Care</c:v>
                </c:pt>
              </c:strCache>
            </c:strRef>
          </c:cat>
          <c:val>
            <c:numRef>
              <c:f>Proc_Family!$K$11:$K$17</c:f>
              <c:numCache>
                <c:formatCode>General</c:formatCode>
                <c:ptCount val="7"/>
                <c:pt idx="0" formatCode="0%">
                  <c:v>0.94119354227478669</c:v>
                </c:pt>
                <c:pt idx="2" formatCode="0%">
                  <c:v>0.27690350648787049</c:v>
                </c:pt>
                <c:pt idx="3" formatCode="0%">
                  <c:v>0.46085765613644597</c:v>
                </c:pt>
                <c:pt idx="4" formatCode="0%">
                  <c:v>7.3942810872218795E-2</c:v>
                </c:pt>
                <c:pt idx="5" formatCode="0%">
                  <c:v>0.52018508874712499</c:v>
                </c:pt>
                <c:pt idx="6" formatCode="0%">
                  <c:v>0.133217412159731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4D3-40D4-9EE4-B3955058620D}"/>
            </c:ext>
          </c:extLst>
        </c:ser>
        <c:ser>
          <c:idx val="3"/>
          <c:order val="3"/>
          <c:tx>
            <c:strRef>
              <c:f>Proc_Family!$L$10</c:f>
              <c:strCache>
                <c:ptCount val="1"/>
                <c:pt idx="0">
                  <c:v>LOS 4 </c:v>
                </c:pt>
              </c:strCache>
            </c:strRef>
          </c:tx>
          <c:spPr>
            <a:solidFill>
              <a:srgbClr val="EC008C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EDAF3BDD-AE8C-4424-8223-7F8A4F1C9448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34D3-40D4-9EE4-B3955058620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roc_Family!$H$11:$H$17</c:f>
              <c:strCache>
                <c:ptCount val="7"/>
                <c:pt idx="0">
                  <c:v>Established</c:v>
                </c:pt>
                <c:pt idx="1">
                  <c:v>Eye Exam</c:v>
                </c:pt>
                <c:pt idx="2">
                  <c:v>Inpatient</c:v>
                </c:pt>
                <c:pt idx="3">
                  <c:v>New Patient</c:v>
                </c:pt>
                <c:pt idx="4">
                  <c:v>Observation</c:v>
                </c:pt>
                <c:pt idx="5">
                  <c:v>Outpatient</c:v>
                </c:pt>
                <c:pt idx="6">
                  <c:v>Transitional Care</c:v>
                </c:pt>
              </c:strCache>
            </c:strRef>
          </c:cat>
          <c:val>
            <c:numRef>
              <c:f>Proc_Family!$L$11:$L$17</c:f>
              <c:numCache>
                <c:formatCode>0%</c:formatCode>
                <c:ptCount val="7"/>
                <c:pt idx="0">
                  <c:v>5.8345945453280791E-2</c:v>
                </c:pt>
                <c:pt idx="1">
                  <c:v>0.27741884737230393</c:v>
                </c:pt>
                <c:pt idx="2">
                  <c:v>0.21785222193290804</c:v>
                </c:pt>
                <c:pt idx="3">
                  <c:v>0.307342772235907</c:v>
                </c:pt>
                <c:pt idx="5">
                  <c:v>0.399969622011022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4D3-40D4-9EE4-B3955058620D}"/>
            </c:ext>
          </c:extLst>
        </c:ser>
        <c:ser>
          <c:idx val="4"/>
          <c:order val="4"/>
          <c:tx>
            <c:strRef>
              <c:f>Proc_Family!$M$10</c:f>
              <c:strCache>
                <c:ptCount val="1"/>
                <c:pt idx="0">
                  <c:v>LOS 5 </c:v>
                </c:pt>
              </c:strCache>
            </c:strRef>
          </c:tx>
          <c:spPr>
            <a:solidFill>
              <a:srgbClr val="31006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roc_Family!$H$11:$H$17</c:f>
              <c:strCache>
                <c:ptCount val="7"/>
                <c:pt idx="0">
                  <c:v>Established</c:v>
                </c:pt>
                <c:pt idx="1">
                  <c:v>Eye Exam</c:v>
                </c:pt>
                <c:pt idx="2">
                  <c:v>Inpatient</c:v>
                </c:pt>
                <c:pt idx="3">
                  <c:v>New Patient</c:v>
                </c:pt>
                <c:pt idx="4">
                  <c:v>Observation</c:v>
                </c:pt>
                <c:pt idx="5">
                  <c:v>Outpatient</c:v>
                </c:pt>
                <c:pt idx="6">
                  <c:v>Transitional Care</c:v>
                </c:pt>
              </c:strCache>
            </c:strRef>
          </c:cat>
          <c:val>
            <c:numRef>
              <c:f>Proc_Family!$M$11:$M$17</c:f>
              <c:numCache>
                <c:formatCode>General</c:formatCode>
                <c:ptCount val="7"/>
                <c:pt idx="2" formatCode="0%">
                  <c:v>4.7130636201883437E-2</c:v>
                </c:pt>
                <c:pt idx="3" formatCode="0%">
                  <c:v>5.840950574081314E-2</c:v>
                </c:pt>
                <c:pt idx="5" formatCode="0%">
                  <c:v>7.983986460096341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4D3-40D4-9EE4-B3955058620D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100"/>
        <c:axId val="2111702863"/>
        <c:axId val="2111703823"/>
      </c:barChart>
      <c:catAx>
        <c:axId val="211170286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en-US"/>
          </a:p>
        </c:txPr>
        <c:crossAx val="2111703823"/>
        <c:crosses val="autoZero"/>
        <c:auto val="1"/>
        <c:lblAlgn val="ctr"/>
        <c:lblOffset val="100"/>
        <c:noMultiLvlLbl val="0"/>
      </c:catAx>
      <c:valAx>
        <c:axId val="2111703823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211170286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ptos" panose="020B0004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E&amp;M Initial Descriptive analysis.xlsx]LOS Count!PivotTable1</c:name>
    <c:fmtId val="12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IN" sz="1200" b="1" dirty="0">
                <a:latin typeface="Aptos" panose="020B0004020202020204" pitchFamily="34" charset="0"/>
              </a:rPr>
              <a:t>Feasible</a:t>
            </a:r>
            <a:r>
              <a:rPr lang="en-IN" sz="1200" b="1" baseline="0" dirty="0">
                <a:latin typeface="Aptos" panose="020B0004020202020204" pitchFamily="34" charset="0"/>
              </a:rPr>
              <a:t> Levels</a:t>
            </a:r>
            <a:endParaRPr lang="en-IN" sz="1200" b="1" dirty="0">
              <a:latin typeface="Aptos" panose="020B0004020202020204" pitchFamily="34" charset="0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IN"/>
        </a:p>
      </c:txPr>
    </c:title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0"/>
        <c:spPr>
          <a:solidFill>
            <a:schemeClr val="bg1">
              <a:lumMod val="75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1"/>
        <c:spPr>
          <a:solidFill>
            <a:srgbClr val="9C97CD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2"/>
        <c:spPr>
          <a:solidFill>
            <a:srgbClr val="7C77AD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5"/>
        <c:spPr>
          <a:solidFill>
            <a:schemeClr val="bg1">
              <a:lumMod val="75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6"/>
        <c:spPr>
          <a:solidFill>
            <a:srgbClr val="9C97CD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7"/>
        <c:spPr>
          <a:solidFill>
            <a:srgbClr val="7C77AD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0"/>
        <c:spPr>
          <a:solidFill>
            <a:schemeClr val="bg1">
              <a:lumMod val="75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1"/>
        <c:spPr>
          <a:solidFill>
            <a:srgbClr val="9C97CD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2"/>
        <c:spPr>
          <a:solidFill>
            <a:srgbClr val="7C77AD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'LOS Count'!$B$1</c:f>
              <c:strCache>
                <c:ptCount val="1"/>
                <c:pt idx="0">
                  <c:v>LOS 1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'LOS Count'!$A$2:$A$24</c:f>
              <c:strCache>
                <c:ptCount val="22"/>
                <c:pt idx="0">
                  <c:v>TRNCM</c:v>
                </c:pt>
                <c:pt idx="1">
                  <c:v>OVCON</c:v>
                </c:pt>
                <c:pt idx="2">
                  <c:v>OBSNW</c:v>
                </c:pt>
                <c:pt idx="3">
                  <c:v>OBSFU</c:v>
                </c:pt>
                <c:pt idx="4">
                  <c:v>NEWOV</c:v>
                </c:pt>
                <c:pt idx="5">
                  <c:v>NEWNR</c:v>
                </c:pt>
                <c:pt idx="6">
                  <c:v>NEWHH</c:v>
                </c:pt>
                <c:pt idx="7">
                  <c:v>NEWDC</c:v>
                </c:pt>
                <c:pt idx="8">
                  <c:v>NEWAV</c:v>
                </c:pt>
                <c:pt idx="9">
                  <c:v>NEWAO</c:v>
                </c:pt>
                <c:pt idx="10">
                  <c:v>IPFUV</c:v>
                </c:pt>
                <c:pt idx="11">
                  <c:v>IPERV</c:v>
                </c:pt>
                <c:pt idx="12">
                  <c:v>IPCON</c:v>
                </c:pt>
                <c:pt idx="13">
                  <c:v>IPADM</c:v>
                </c:pt>
                <c:pt idx="14">
                  <c:v>EYENW</c:v>
                </c:pt>
                <c:pt idx="15">
                  <c:v>EYEES</c:v>
                </c:pt>
                <c:pt idx="16">
                  <c:v>ESTOV</c:v>
                </c:pt>
                <c:pt idx="17">
                  <c:v>ESTNR</c:v>
                </c:pt>
                <c:pt idx="18">
                  <c:v>ESTHH</c:v>
                </c:pt>
                <c:pt idx="19">
                  <c:v>ESTDC</c:v>
                </c:pt>
                <c:pt idx="20">
                  <c:v>ESTAV</c:v>
                </c:pt>
                <c:pt idx="21">
                  <c:v>ESTAO</c:v>
                </c:pt>
              </c:strCache>
            </c:strRef>
          </c:cat>
          <c:val>
            <c:numRef>
              <c:f>'LOS Count'!$B$2:$B$24</c:f>
              <c:numCache>
                <c:formatCode>General</c:formatCode>
                <c:ptCount val="2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51-44AE-9BCD-E48E914FC753}"/>
            </c:ext>
          </c:extLst>
        </c:ser>
        <c:ser>
          <c:idx val="1"/>
          <c:order val="1"/>
          <c:tx>
            <c:strRef>
              <c:f>'LOS Count'!$C$1</c:f>
              <c:strCache>
                <c:ptCount val="1"/>
                <c:pt idx="0">
                  <c:v>LOS 2</c:v>
                </c:pt>
              </c:strCache>
            </c:strRef>
          </c:tx>
          <c:spPr>
            <a:solidFill>
              <a:srgbClr val="9C97CD"/>
            </a:solidFill>
            <a:ln>
              <a:noFill/>
            </a:ln>
            <a:effectLst/>
          </c:spPr>
          <c:invertIfNegative val="0"/>
          <c:cat>
            <c:strRef>
              <c:f>'LOS Count'!$A$2:$A$24</c:f>
              <c:strCache>
                <c:ptCount val="22"/>
                <c:pt idx="0">
                  <c:v>TRNCM</c:v>
                </c:pt>
                <c:pt idx="1">
                  <c:v>OVCON</c:v>
                </c:pt>
                <c:pt idx="2">
                  <c:v>OBSNW</c:v>
                </c:pt>
                <c:pt idx="3">
                  <c:v>OBSFU</c:v>
                </c:pt>
                <c:pt idx="4">
                  <c:v>NEWOV</c:v>
                </c:pt>
                <c:pt idx="5">
                  <c:v>NEWNR</c:v>
                </c:pt>
                <c:pt idx="6">
                  <c:v>NEWHH</c:v>
                </c:pt>
                <c:pt idx="7">
                  <c:v>NEWDC</c:v>
                </c:pt>
                <c:pt idx="8">
                  <c:v>NEWAV</c:v>
                </c:pt>
                <c:pt idx="9">
                  <c:v>NEWAO</c:v>
                </c:pt>
                <c:pt idx="10">
                  <c:v>IPFUV</c:v>
                </c:pt>
                <c:pt idx="11">
                  <c:v>IPERV</c:v>
                </c:pt>
                <c:pt idx="12">
                  <c:v>IPCON</c:v>
                </c:pt>
                <c:pt idx="13">
                  <c:v>IPADM</c:v>
                </c:pt>
                <c:pt idx="14">
                  <c:v>EYENW</c:v>
                </c:pt>
                <c:pt idx="15">
                  <c:v>EYEES</c:v>
                </c:pt>
                <c:pt idx="16">
                  <c:v>ESTOV</c:v>
                </c:pt>
                <c:pt idx="17">
                  <c:v>ESTNR</c:v>
                </c:pt>
                <c:pt idx="18">
                  <c:v>ESTHH</c:v>
                </c:pt>
                <c:pt idx="19">
                  <c:v>ESTDC</c:v>
                </c:pt>
                <c:pt idx="20">
                  <c:v>ESTAV</c:v>
                </c:pt>
                <c:pt idx="21">
                  <c:v>ESTAO</c:v>
                </c:pt>
              </c:strCache>
            </c:strRef>
          </c:cat>
          <c:val>
            <c:numRef>
              <c:f>'LOS Count'!$C$2:$C$24</c:f>
              <c:numCache>
                <c:formatCode>General</c:formatCode>
                <c:ptCount val="22"/>
                <c:pt idx="0">
                  <c:v>144562</c:v>
                </c:pt>
                <c:pt idx="1">
                  <c:v>1</c:v>
                </c:pt>
                <c:pt idx="2">
                  <c:v>143652</c:v>
                </c:pt>
                <c:pt idx="3">
                  <c:v>162847</c:v>
                </c:pt>
                <c:pt idx="4">
                  <c:v>0</c:v>
                </c:pt>
                <c:pt idx="5">
                  <c:v>144582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180895</c:v>
                </c:pt>
                <c:pt idx="11">
                  <c:v>1</c:v>
                </c:pt>
                <c:pt idx="12">
                  <c:v>3</c:v>
                </c:pt>
                <c:pt idx="13">
                  <c:v>156903</c:v>
                </c:pt>
                <c:pt idx="14">
                  <c:v>95365</c:v>
                </c:pt>
                <c:pt idx="15">
                  <c:v>171037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651-44AE-9BCD-E48E914FC753}"/>
            </c:ext>
          </c:extLst>
        </c:ser>
        <c:ser>
          <c:idx val="2"/>
          <c:order val="2"/>
          <c:tx>
            <c:strRef>
              <c:f>'LOS Count'!$D$1</c:f>
              <c:strCache>
                <c:ptCount val="1"/>
                <c:pt idx="0">
                  <c:v>LOS 3</c:v>
                </c:pt>
              </c:strCache>
            </c:strRef>
          </c:tx>
          <c:spPr>
            <a:solidFill>
              <a:srgbClr val="9579D3"/>
            </a:solidFill>
            <a:ln>
              <a:noFill/>
            </a:ln>
            <a:effectLst/>
          </c:spPr>
          <c:invertIfNegative val="0"/>
          <c:cat>
            <c:strRef>
              <c:f>'LOS Count'!$A$2:$A$24</c:f>
              <c:strCache>
                <c:ptCount val="22"/>
                <c:pt idx="0">
                  <c:v>TRNCM</c:v>
                </c:pt>
                <c:pt idx="1">
                  <c:v>OVCON</c:v>
                </c:pt>
                <c:pt idx="2">
                  <c:v>OBSNW</c:v>
                </c:pt>
                <c:pt idx="3">
                  <c:v>OBSFU</c:v>
                </c:pt>
                <c:pt idx="4">
                  <c:v>NEWOV</c:v>
                </c:pt>
                <c:pt idx="5">
                  <c:v>NEWNR</c:v>
                </c:pt>
                <c:pt idx="6">
                  <c:v>NEWHH</c:v>
                </c:pt>
                <c:pt idx="7">
                  <c:v>NEWDC</c:v>
                </c:pt>
                <c:pt idx="8">
                  <c:v>NEWAV</c:v>
                </c:pt>
                <c:pt idx="9">
                  <c:v>NEWAO</c:v>
                </c:pt>
                <c:pt idx="10">
                  <c:v>IPFUV</c:v>
                </c:pt>
                <c:pt idx="11">
                  <c:v>IPERV</c:v>
                </c:pt>
                <c:pt idx="12">
                  <c:v>IPCON</c:v>
                </c:pt>
                <c:pt idx="13">
                  <c:v>IPADM</c:v>
                </c:pt>
                <c:pt idx="14">
                  <c:v>EYENW</c:v>
                </c:pt>
                <c:pt idx="15">
                  <c:v>EYEES</c:v>
                </c:pt>
                <c:pt idx="16">
                  <c:v>ESTOV</c:v>
                </c:pt>
                <c:pt idx="17">
                  <c:v>ESTNR</c:v>
                </c:pt>
                <c:pt idx="18">
                  <c:v>ESTHH</c:v>
                </c:pt>
                <c:pt idx="19">
                  <c:v>ESTDC</c:v>
                </c:pt>
                <c:pt idx="20">
                  <c:v>ESTAV</c:v>
                </c:pt>
                <c:pt idx="21">
                  <c:v>ESTAO</c:v>
                </c:pt>
              </c:strCache>
            </c:strRef>
          </c:cat>
          <c:val>
            <c:numRef>
              <c:f>'LOS Count'!$D$2:$D$24</c:f>
              <c:numCache>
                <c:formatCode>General</c:formatCode>
                <c:ptCount val="22"/>
                <c:pt idx="0">
                  <c:v>22218</c:v>
                </c:pt>
                <c:pt idx="1">
                  <c:v>95893</c:v>
                </c:pt>
                <c:pt idx="2">
                  <c:v>21834</c:v>
                </c:pt>
                <c:pt idx="3">
                  <c:v>2639</c:v>
                </c:pt>
                <c:pt idx="4">
                  <c:v>96686</c:v>
                </c:pt>
                <c:pt idx="5">
                  <c:v>22198</c:v>
                </c:pt>
                <c:pt idx="6">
                  <c:v>90440</c:v>
                </c:pt>
                <c:pt idx="7">
                  <c:v>89998</c:v>
                </c:pt>
                <c:pt idx="8">
                  <c:v>42483</c:v>
                </c:pt>
                <c:pt idx="9">
                  <c:v>42483</c:v>
                </c:pt>
                <c:pt idx="10">
                  <c:v>3449</c:v>
                </c:pt>
                <c:pt idx="11">
                  <c:v>87096</c:v>
                </c:pt>
                <c:pt idx="12">
                  <c:v>86196</c:v>
                </c:pt>
                <c:pt idx="13">
                  <c:v>27441</c:v>
                </c:pt>
                <c:pt idx="14">
                  <c:v>4</c:v>
                </c:pt>
                <c:pt idx="15">
                  <c:v>1</c:v>
                </c:pt>
                <c:pt idx="16">
                  <c:v>172039</c:v>
                </c:pt>
                <c:pt idx="17">
                  <c:v>156947</c:v>
                </c:pt>
                <c:pt idx="18">
                  <c:v>156947</c:v>
                </c:pt>
                <c:pt idx="19">
                  <c:v>155929</c:v>
                </c:pt>
                <c:pt idx="20">
                  <c:v>71478</c:v>
                </c:pt>
                <c:pt idx="21">
                  <c:v>714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651-44AE-9BCD-E48E914FC753}"/>
            </c:ext>
          </c:extLst>
        </c:ser>
        <c:ser>
          <c:idx val="3"/>
          <c:order val="3"/>
          <c:tx>
            <c:strRef>
              <c:f>'LOS Count'!$E$1</c:f>
              <c:strCache>
                <c:ptCount val="1"/>
                <c:pt idx="0">
                  <c:v>LOS 4</c:v>
                </c:pt>
              </c:strCache>
            </c:strRef>
          </c:tx>
          <c:spPr>
            <a:solidFill>
              <a:srgbClr val="EC008C"/>
            </a:solidFill>
            <a:ln>
              <a:solidFill>
                <a:srgbClr val="EC008C"/>
              </a:solidFill>
            </a:ln>
            <a:effectLst/>
          </c:spPr>
          <c:invertIfNegative val="0"/>
          <c:cat>
            <c:strRef>
              <c:f>'LOS Count'!$A$2:$A$24</c:f>
              <c:strCache>
                <c:ptCount val="22"/>
                <c:pt idx="0">
                  <c:v>TRNCM</c:v>
                </c:pt>
                <c:pt idx="1">
                  <c:v>OVCON</c:v>
                </c:pt>
                <c:pt idx="2">
                  <c:v>OBSNW</c:v>
                </c:pt>
                <c:pt idx="3">
                  <c:v>OBSFU</c:v>
                </c:pt>
                <c:pt idx="4">
                  <c:v>NEWOV</c:v>
                </c:pt>
                <c:pt idx="5">
                  <c:v>NEWNR</c:v>
                </c:pt>
                <c:pt idx="6">
                  <c:v>NEWHH</c:v>
                </c:pt>
                <c:pt idx="7">
                  <c:v>NEWDC</c:v>
                </c:pt>
                <c:pt idx="8">
                  <c:v>NEWAV</c:v>
                </c:pt>
                <c:pt idx="9">
                  <c:v>NEWAO</c:v>
                </c:pt>
                <c:pt idx="10">
                  <c:v>IPFUV</c:v>
                </c:pt>
                <c:pt idx="11">
                  <c:v>IPERV</c:v>
                </c:pt>
                <c:pt idx="12">
                  <c:v>IPCON</c:v>
                </c:pt>
                <c:pt idx="13">
                  <c:v>IPADM</c:v>
                </c:pt>
                <c:pt idx="14">
                  <c:v>EYENW</c:v>
                </c:pt>
                <c:pt idx="15">
                  <c:v>EYEES</c:v>
                </c:pt>
                <c:pt idx="16">
                  <c:v>ESTOV</c:v>
                </c:pt>
                <c:pt idx="17">
                  <c:v>ESTNR</c:v>
                </c:pt>
                <c:pt idx="18">
                  <c:v>ESTHH</c:v>
                </c:pt>
                <c:pt idx="19">
                  <c:v>ESTDC</c:v>
                </c:pt>
                <c:pt idx="20">
                  <c:v>ESTAV</c:v>
                </c:pt>
                <c:pt idx="21">
                  <c:v>ESTAO</c:v>
                </c:pt>
              </c:strCache>
            </c:strRef>
          </c:cat>
          <c:val>
            <c:numRef>
              <c:f>'LOS Count'!$E$2:$E$24</c:f>
              <c:numCache>
                <c:formatCode>General</c:formatCode>
                <c:ptCount val="22"/>
                <c:pt idx="0">
                  <c:v>0</c:v>
                </c:pt>
                <c:pt idx="1">
                  <c:v>73732</c:v>
                </c:pt>
                <c:pt idx="2">
                  <c:v>0</c:v>
                </c:pt>
                <c:pt idx="3">
                  <c:v>0</c:v>
                </c:pt>
                <c:pt idx="4">
                  <c:v>73301</c:v>
                </c:pt>
                <c:pt idx="5">
                  <c:v>0</c:v>
                </c:pt>
                <c:pt idx="6">
                  <c:v>64129</c:v>
                </c:pt>
                <c:pt idx="7">
                  <c:v>63507</c:v>
                </c:pt>
                <c:pt idx="8">
                  <c:v>27671</c:v>
                </c:pt>
                <c:pt idx="9">
                  <c:v>27671</c:v>
                </c:pt>
                <c:pt idx="10">
                  <c:v>0</c:v>
                </c:pt>
                <c:pt idx="11">
                  <c:v>80032</c:v>
                </c:pt>
                <c:pt idx="12">
                  <c:v>80607</c:v>
                </c:pt>
                <c:pt idx="13">
                  <c:v>0</c:v>
                </c:pt>
                <c:pt idx="14">
                  <c:v>88975</c:v>
                </c:pt>
                <c:pt idx="15">
                  <c:v>13306</c:v>
                </c:pt>
                <c:pt idx="16">
                  <c:v>12192</c:v>
                </c:pt>
                <c:pt idx="17">
                  <c:v>9758</c:v>
                </c:pt>
                <c:pt idx="18">
                  <c:v>9758</c:v>
                </c:pt>
                <c:pt idx="19">
                  <c:v>9482</c:v>
                </c:pt>
                <c:pt idx="20">
                  <c:v>3731</c:v>
                </c:pt>
                <c:pt idx="21">
                  <c:v>37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651-44AE-9BCD-E48E914FC753}"/>
            </c:ext>
          </c:extLst>
        </c:ser>
        <c:ser>
          <c:idx val="4"/>
          <c:order val="4"/>
          <c:tx>
            <c:strRef>
              <c:f>'LOS Count'!$F$1</c:f>
              <c:strCache>
                <c:ptCount val="1"/>
                <c:pt idx="0">
                  <c:v>LOS 5</c:v>
                </c:pt>
              </c:strCache>
            </c:strRef>
          </c:tx>
          <c:spPr>
            <a:solidFill>
              <a:srgbClr val="31006F"/>
            </a:solidFill>
            <a:ln>
              <a:solidFill>
                <a:srgbClr val="31006F"/>
              </a:solidFill>
            </a:ln>
            <a:effectLst/>
          </c:spPr>
          <c:invertIfNegative val="0"/>
          <c:cat>
            <c:strRef>
              <c:f>'LOS Count'!$A$2:$A$24</c:f>
              <c:strCache>
                <c:ptCount val="22"/>
                <c:pt idx="0">
                  <c:v>TRNCM</c:v>
                </c:pt>
                <c:pt idx="1">
                  <c:v>OVCON</c:v>
                </c:pt>
                <c:pt idx="2">
                  <c:v>OBSNW</c:v>
                </c:pt>
                <c:pt idx="3">
                  <c:v>OBSFU</c:v>
                </c:pt>
                <c:pt idx="4">
                  <c:v>NEWOV</c:v>
                </c:pt>
                <c:pt idx="5">
                  <c:v>NEWNR</c:v>
                </c:pt>
                <c:pt idx="6">
                  <c:v>NEWHH</c:v>
                </c:pt>
                <c:pt idx="7">
                  <c:v>NEWDC</c:v>
                </c:pt>
                <c:pt idx="8">
                  <c:v>NEWAV</c:v>
                </c:pt>
                <c:pt idx="9">
                  <c:v>NEWAO</c:v>
                </c:pt>
                <c:pt idx="10">
                  <c:v>IPFUV</c:v>
                </c:pt>
                <c:pt idx="11">
                  <c:v>IPERV</c:v>
                </c:pt>
                <c:pt idx="12">
                  <c:v>IPCON</c:v>
                </c:pt>
                <c:pt idx="13">
                  <c:v>IPADM</c:v>
                </c:pt>
                <c:pt idx="14">
                  <c:v>EYENW</c:v>
                </c:pt>
                <c:pt idx="15">
                  <c:v>EYEES</c:v>
                </c:pt>
                <c:pt idx="16">
                  <c:v>ESTOV</c:v>
                </c:pt>
                <c:pt idx="17">
                  <c:v>ESTNR</c:v>
                </c:pt>
                <c:pt idx="18">
                  <c:v>ESTHH</c:v>
                </c:pt>
                <c:pt idx="19">
                  <c:v>ESTDC</c:v>
                </c:pt>
                <c:pt idx="20">
                  <c:v>ESTAV</c:v>
                </c:pt>
                <c:pt idx="21">
                  <c:v>ESTAO</c:v>
                </c:pt>
              </c:strCache>
            </c:strRef>
          </c:cat>
          <c:val>
            <c:numRef>
              <c:f>'LOS Count'!$F$2:$F$24</c:f>
              <c:numCache>
                <c:formatCode>General</c:formatCode>
                <c:ptCount val="22"/>
                <c:pt idx="0">
                  <c:v>0</c:v>
                </c:pt>
                <c:pt idx="1">
                  <c:v>14718</c:v>
                </c:pt>
                <c:pt idx="2">
                  <c:v>0</c:v>
                </c:pt>
                <c:pt idx="3">
                  <c:v>0</c:v>
                </c:pt>
                <c:pt idx="4">
                  <c:v>14357</c:v>
                </c:pt>
                <c:pt idx="5">
                  <c:v>0</c:v>
                </c:pt>
                <c:pt idx="6">
                  <c:v>12211</c:v>
                </c:pt>
                <c:pt idx="7">
                  <c:v>11981</c:v>
                </c:pt>
                <c:pt idx="8">
                  <c:v>5078</c:v>
                </c:pt>
                <c:pt idx="9">
                  <c:v>5078</c:v>
                </c:pt>
                <c:pt idx="10">
                  <c:v>0</c:v>
                </c:pt>
                <c:pt idx="11">
                  <c:v>17215</c:v>
                </c:pt>
                <c:pt idx="12">
                  <c:v>17538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113</c:v>
                </c:pt>
                <c:pt idx="17">
                  <c:v>75</c:v>
                </c:pt>
                <c:pt idx="18">
                  <c:v>75</c:v>
                </c:pt>
                <c:pt idx="19">
                  <c:v>75</c:v>
                </c:pt>
                <c:pt idx="20">
                  <c:v>23</c:v>
                </c:pt>
                <c:pt idx="21">
                  <c:v>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651-44AE-9BCD-E48E914FC7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825709167"/>
        <c:axId val="825729327"/>
      </c:barChart>
      <c:catAx>
        <c:axId val="825709167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en-US"/>
          </a:p>
        </c:txPr>
        <c:crossAx val="825729327"/>
        <c:crosses val="autoZero"/>
        <c:auto val="1"/>
        <c:lblAlgn val="ctr"/>
        <c:lblOffset val="100"/>
        <c:noMultiLvlLbl val="0"/>
      </c:catAx>
      <c:valAx>
        <c:axId val="825729327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2570916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92539654317403885"/>
          <c:y val="0.68155106530801302"/>
          <c:w val="7.0005813693484187E-2"/>
          <c:h val="0.2484558025653153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ptos" panose="020B0004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E&amp;M Initial Descriptive analysis.xlsx]ShareHigh!PivotTable6</c:name>
    <c:fmtId val="6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IN" sz="1200" b="1" dirty="0">
                <a:latin typeface="Aptos" panose="020B0004020202020204" pitchFamily="34" charset="0"/>
              </a:rPr>
              <a:t>Top</a:t>
            </a:r>
            <a:r>
              <a:rPr lang="en-IN" sz="1200" b="1" baseline="0" dirty="0">
                <a:latin typeface="Aptos" panose="020B0004020202020204" pitchFamily="34" charset="0"/>
              </a:rPr>
              <a:t> Recoding Opportunities</a:t>
            </a:r>
            <a:endParaRPr lang="en-IN" sz="1200" b="1" dirty="0">
              <a:latin typeface="Aptos" panose="020B0004020202020204" pitchFamily="34" charset="0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IN"/>
        </a:p>
      </c:txPr>
    </c:title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areHigh!$B$4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areHigh!$A$5:$A$15</c:f>
              <c:strCache>
                <c:ptCount val="10"/>
                <c:pt idx="0">
                  <c:v>EYEES</c:v>
                </c:pt>
                <c:pt idx="1">
                  <c:v>EYENW</c:v>
                </c:pt>
                <c:pt idx="2">
                  <c:v>NEWOV</c:v>
                </c:pt>
                <c:pt idx="3">
                  <c:v>OVCON</c:v>
                </c:pt>
                <c:pt idx="4">
                  <c:v>NEWHH</c:v>
                </c:pt>
                <c:pt idx="5">
                  <c:v>NEWDC</c:v>
                </c:pt>
                <c:pt idx="6">
                  <c:v>NEWAO</c:v>
                </c:pt>
                <c:pt idx="7">
                  <c:v>NEWAV</c:v>
                </c:pt>
                <c:pt idx="8">
                  <c:v>IPERV</c:v>
                </c:pt>
                <c:pt idx="9">
                  <c:v>IPCON</c:v>
                </c:pt>
              </c:strCache>
            </c:strRef>
          </c:cat>
          <c:val>
            <c:numRef>
              <c:f>ShareHigh!$B$5:$B$15</c:f>
              <c:numCache>
                <c:formatCode>0.00%</c:formatCode>
                <c:ptCount val="10"/>
                <c:pt idx="0">
                  <c:v>6.3676341248900615E-3</c:v>
                </c:pt>
                <c:pt idx="1">
                  <c:v>0.13620172478440196</c:v>
                </c:pt>
                <c:pt idx="2">
                  <c:v>0.20883178389756182</c:v>
                </c:pt>
                <c:pt idx="3">
                  <c:v>0.21173176462274984</c:v>
                </c:pt>
                <c:pt idx="4">
                  <c:v>0.21878460235784536</c:v>
                </c:pt>
                <c:pt idx="5">
                  <c:v>0.21898444434063624</c:v>
                </c:pt>
                <c:pt idx="6">
                  <c:v>0.22852139005864064</c:v>
                </c:pt>
                <c:pt idx="7">
                  <c:v>0.22852139005864064</c:v>
                </c:pt>
                <c:pt idx="8">
                  <c:v>0.26255216045228158</c:v>
                </c:pt>
                <c:pt idx="9">
                  <c:v>0.26663886248569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3DB-44E4-9B4C-7C6C4AF9EBD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1949977551"/>
        <c:axId val="1949978031"/>
      </c:barChart>
      <c:catAx>
        <c:axId val="194997755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en-US"/>
          </a:p>
        </c:txPr>
        <c:crossAx val="1949978031"/>
        <c:crosses val="autoZero"/>
        <c:auto val="1"/>
        <c:lblAlgn val="ctr"/>
        <c:lblOffset val="100"/>
        <c:noMultiLvlLbl val="0"/>
      </c:catAx>
      <c:valAx>
        <c:axId val="1949978031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crossAx val="194997755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E&amp;M Initial Descriptive analysis.xlsx]Pareto!PivotTable11</c:name>
    <c:fmtId val="9"/>
  </c:pivotSource>
  <c:chart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Pareto!$B$3</c:f>
              <c:strCache>
                <c:ptCount val="1"/>
                <c:pt idx="0">
                  <c:v>Sum of 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Pareto!$A$4:$A$26</c:f>
              <c:strCache>
                <c:ptCount val="22"/>
                <c:pt idx="0">
                  <c:v>NEWOV</c:v>
                </c:pt>
                <c:pt idx="1">
                  <c:v>IPCON</c:v>
                </c:pt>
                <c:pt idx="2">
                  <c:v>IPADM</c:v>
                </c:pt>
                <c:pt idx="3">
                  <c:v>ESTOV</c:v>
                </c:pt>
                <c:pt idx="4">
                  <c:v>IPFUV</c:v>
                </c:pt>
                <c:pt idx="5">
                  <c:v>EYEES</c:v>
                </c:pt>
                <c:pt idx="6">
                  <c:v>OVCON</c:v>
                </c:pt>
                <c:pt idx="7">
                  <c:v>EYENW</c:v>
                </c:pt>
                <c:pt idx="8">
                  <c:v>IPERV</c:v>
                </c:pt>
                <c:pt idx="9">
                  <c:v>ESTNR</c:v>
                </c:pt>
                <c:pt idx="10">
                  <c:v>ESTHH</c:v>
                </c:pt>
                <c:pt idx="11">
                  <c:v>TRNCM</c:v>
                </c:pt>
                <c:pt idx="12">
                  <c:v>NEWNR</c:v>
                </c:pt>
                <c:pt idx="13">
                  <c:v>NEWHH</c:v>
                </c:pt>
                <c:pt idx="14">
                  <c:v>OBSNW</c:v>
                </c:pt>
                <c:pt idx="15">
                  <c:v>OBSFU</c:v>
                </c:pt>
                <c:pt idx="16">
                  <c:v>NEWDC</c:v>
                </c:pt>
                <c:pt idx="17">
                  <c:v>ESTDC</c:v>
                </c:pt>
                <c:pt idx="18">
                  <c:v>NEWAV</c:v>
                </c:pt>
                <c:pt idx="19">
                  <c:v>NEWAO</c:v>
                </c:pt>
                <c:pt idx="20">
                  <c:v>ESTAO</c:v>
                </c:pt>
                <c:pt idx="21">
                  <c:v>ESTAV</c:v>
                </c:pt>
              </c:strCache>
            </c:strRef>
          </c:cat>
          <c:val>
            <c:numRef>
              <c:f>Pareto!$B$4:$B$26</c:f>
              <c:numCache>
                <c:formatCode>General</c:formatCode>
                <c:ptCount val="22"/>
                <c:pt idx="0">
                  <c:v>184344</c:v>
                </c:pt>
                <c:pt idx="1">
                  <c:v>184344</c:v>
                </c:pt>
                <c:pt idx="2">
                  <c:v>184344</c:v>
                </c:pt>
                <c:pt idx="3">
                  <c:v>184344</c:v>
                </c:pt>
                <c:pt idx="4">
                  <c:v>184344</c:v>
                </c:pt>
                <c:pt idx="5">
                  <c:v>184344</c:v>
                </c:pt>
                <c:pt idx="6">
                  <c:v>184344</c:v>
                </c:pt>
                <c:pt idx="7">
                  <c:v>184344</c:v>
                </c:pt>
                <c:pt idx="8">
                  <c:v>184344</c:v>
                </c:pt>
                <c:pt idx="9">
                  <c:v>166780</c:v>
                </c:pt>
                <c:pt idx="10">
                  <c:v>166780</c:v>
                </c:pt>
                <c:pt idx="11">
                  <c:v>166780</c:v>
                </c:pt>
                <c:pt idx="12">
                  <c:v>166780</c:v>
                </c:pt>
                <c:pt idx="13">
                  <c:v>166780</c:v>
                </c:pt>
                <c:pt idx="14">
                  <c:v>165486</c:v>
                </c:pt>
                <c:pt idx="15">
                  <c:v>165486</c:v>
                </c:pt>
                <c:pt idx="16">
                  <c:v>165486</c:v>
                </c:pt>
                <c:pt idx="17">
                  <c:v>165486</c:v>
                </c:pt>
                <c:pt idx="18">
                  <c:v>75232</c:v>
                </c:pt>
                <c:pt idx="19">
                  <c:v>75232</c:v>
                </c:pt>
                <c:pt idx="20">
                  <c:v>75232</c:v>
                </c:pt>
                <c:pt idx="21">
                  <c:v>752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F71-4784-B4CC-4929C19AEC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25765327"/>
        <c:axId val="825760527"/>
      </c:barChart>
      <c:lineChart>
        <c:grouping val="standard"/>
        <c:varyColors val="0"/>
        <c:ser>
          <c:idx val="1"/>
          <c:order val="1"/>
          <c:tx>
            <c:strRef>
              <c:f>Pareto!$C$3</c:f>
              <c:strCache>
                <c:ptCount val="1"/>
                <c:pt idx="0">
                  <c:v>Sum of n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Pareto!$A$4:$A$26</c:f>
              <c:strCache>
                <c:ptCount val="22"/>
                <c:pt idx="0">
                  <c:v>NEWOV</c:v>
                </c:pt>
                <c:pt idx="1">
                  <c:v>IPCON</c:v>
                </c:pt>
                <c:pt idx="2">
                  <c:v>IPADM</c:v>
                </c:pt>
                <c:pt idx="3">
                  <c:v>ESTOV</c:v>
                </c:pt>
                <c:pt idx="4">
                  <c:v>IPFUV</c:v>
                </c:pt>
                <c:pt idx="5">
                  <c:v>EYEES</c:v>
                </c:pt>
                <c:pt idx="6">
                  <c:v>OVCON</c:v>
                </c:pt>
                <c:pt idx="7">
                  <c:v>EYENW</c:v>
                </c:pt>
                <c:pt idx="8">
                  <c:v>IPERV</c:v>
                </c:pt>
                <c:pt idx="9">
                  <c:v>ESTNR</c:v>
                </c:pt>
                <c:pt idx="10">
                  <c:v>ESTHH</c:v>
                </c:pt>
                <c:pt idx="11">
                  <c:v>TRNCM</c:v>
                </c:pt>
                <c:pt idx="12">
                  <c:v>NEWNR</c:v>
                </c:pt>
                <c:pt idx="13">
                  <c:v>NEWHH</c:v>
                </c:pt>
                <c:pt idx="14">
                  <c:v>OBSNW</c:v>
                </c:pt>
                <c:pt idx="15">
                  <c:v>OBSFU</c:v>
                </c:pt>
                <c:pt idx="16">
                  <c:v>NEWDC</c:v>
                </c:pt>
                <c:pt idx="17">
                  <c:v>ESTDC</c:v>
                </c:pt>
                <c:pt idx="18">
                  <c:v>NEWAV</c:v>
                </c:pt>
                <c:pt idx="19">
                  <c:v>NEWAO</c:v>
                </c:pt>
                <c:pt idx="20">
                  <c:v>ESTAO</c:v>
                </c:pt>
                <c:pt idx="21">
                  <c:v>ESTAV</c:v>
                </c:pt>
              </c:strCache>
            </c:strRef>
          </c:cat>
          <c:val>
            <c:numRef>
              <c:f>Pareto!$C$4:$C$26</c:f>
              <c:numCache>
                <c:formatCode>0.00%</c:formatCode>
                <c:ptCount val="22"/>
                <c:pt idx="0">
                  <c:v>5.3342315157870614E-2</c:v>
                </c:pt>
                <c:pt idx="1">
                  <c:v>0.10668463031574123</c:v>
                </c:pt>
                <c:pt idx="2">
                  <c:v>0.16002694547361185</c:v>
                </c:pt>
                <c:pt idx="3">
                  <c:v>0.21336926063148245</c:v>
                </c:pt>
                <c:pt idx="4">
                  <c:v>0.26671157578935306</c:v>
                </c:pt>
                <c:pt idx="5">
                  <c:v>0.3200538909472237</c:v>
                </c:pt>
                <c:pt idx="6">
                  <c:v>0.37339620610509427</c:v>
                </c:pt>
                <c:pt idx="7">
                  <c:v>0.42673852126296491</c:v>
                </c:pt>
                <c:pt idx="8">
                  <c:v>0.48008083642083554</c:v>
                </c:pt>
                <c:pt idx="9">
                  <c:v>0.52834078153447994</c:v>
                </c:pt>
                <c:pt idx="10">
                  <c:v>0.57660072664812434</c:v>
                </c:pt>
                <c:pt idx="11">
                  <c:v>0.62486067176176863</c:v>
                </c:pt>
                <c:pt idx="12">
                  <c:v>0.67312061687541302</c:v>
                </c:pt>
                <c:pt idx="13">
                  <c:v>0.72138056198905742</c:v>
                </c:pt>
                <c:pt idx="14">
                  <c:v>0.76926607150504589</c:v>
                </c:pt>
                <c:pt idx="15">
                  <c:v>0.81715158102103436</c:v>
                </c:pt>
                <c:pt idx="16">
                  <c:v>0.86503709053702282</c:v>
                </c:pt>
                <c:pt idx="17">
                  <c:v>0.91292260005301129</c:v>
                </c:pt>
                <c:pt idx="18">
                  <c:v>0.93469195003975847</c:v>
                </c:pt>
                <c:pt idx="19">
                  <c:v>0.95646130002650565</c:v>
                </c:pt>
                <c:pt idx="20">
                  <c:v>0.97823065001325282</c:v>
                </c:pt>
                <c:pt idx="21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F71-4784-B4CC-4929C19AEC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25763407"/>
        <c:axId val="825762927"/>
      </c:lineChart>
      <c:catAx>
        <c:axId val="82576532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en-US"/>
          </a:p>
        </c:txPr>
        <c:crossAx val="825760527"/>
        <c:crosses val="autoZero"/>
        <c:auto val="1"/>
        <c:lblAlgn val="ctr"/>
        <c:lblOffset val="100"/>
        <c:noMultiLvlLbl val="0"/>
      </c:catAx>
      <c:valAx>
        <c:axId val="82576052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en-US"/>
          </a:p>
        </c:txPr>
        <c:crossAx val="825765327"/>
        <c:crosses val="autoZero"/>
        <c:crossBetween val="between"/>
      </c:valAx>
      <c:valAx>
        <c:axId val="825762927"/>
        <c:scaling>
          <c:orientation val="minMax"/>
        </c:scaling>
        <c:delete val="0"/>
        <c:axPos val="r"/>
        <c:numFmt formatCode="0.0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en-US"/>
          </a:p>
        </c:txPr>
        <c:crossAx val="825763407"/>
        <c:crosses val="max"/>
        <c:crossBetween val="between"/>
      </c:valAx>
      <c:catAx>
        <c:axId val="825763407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825762927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E&amp;M Initial Descriptive analysis.xlsx]Sheet3!PivotTable3</c:name>
    <c:fmtId val="14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IN" sz="1200" dirty="0">
                <a:latin typeface="Aptos" panose="020B0004020202020204" pitchFamily="34" charset="0"/>
              </a:rPr>
              <a:t>Portfolio</a:t>
            </a:r>
            <a:r>
              <a:rPr lang="en-IN" sz="1200" baseline="0" dirty="0">
                <a:latin typeface="Aptos" panose="020B0004020202020204" pitchFamily="34" charset="0"/>
              </a:rPr>
              <a:t> Readines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ivotFmts>
      <c:pivotFmt>
        <c:idx val="0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circle"/>
          <c:size val="5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1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rgbClr val="FFC000"/>
          </a:solidFill>
          <a:ln w="19050">
            <a:solidFill>
              <a:schemeClr val="lt1"/>
            </a:solidFill>
          </a:ln>
          <a:effectLst/>
        </c:spPr>
      </c:pivotFmt>
      <c:pivotFmt>
        <c:idx val="2"/>
        <c:spPr>
          <a:solidFill>
            <a:srgbClr val="00B050"/>
          </a:solidFill>
          <a:ln w="19050">
            <a:solidFill>
              <a:schemeClr val="lt1"/>
            </a:solidFill>
          </a:ln>
          <a:effectLst/>
        </c:spPr>
      </c:pivotFmt>
      <c:pivotFmt>
        <c:idx val="3"/>
        <c:spPr>
          <a:solidFill>
            <a:srgbClr val="FF0000"/>
          </a:solidFill>
          <a:ln w="19050">
            <a:solidFill>
              <a:schemeClr val="lt1"/>
            </a:solidFill>
          </a:ln>
          <a:effectLst/>
        </c:spPr>
      </c:pivotFmt>
      <c:pivotFmt>
        <c:idx val="4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1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rgbClr val="FFC000"/>
          </a:solidFill>
          <a:ln w="19050">
            <a:solidFill>
              <a:schemeClr val="lt1"/>
            </a:solidFill>
          </a:ln>
          <a:effectLst/>
        </c:spPr>
      </c:pivotFmt>
      <c:pivotFmt>
        <c:idx val="6"/>
        <c:spPr>
          <a:solidFill>
            <a:srgbClr val="00B050"/>
          </a:solidFill>
          <a:ln w="19050">
            <a:solidFill>
              <a:schemeClr val="lt1"/>
            </a:solidFill>
          </a:ln>
          <a:effectLst/>
        </c:spPr>
      </c:pivotFmt>
      <c:pivotFmt>
        <c:idx val="7"/>
        <c:spPr>
          <a:solidFill>
            <a:srgbClr val="FF0000"/>
          </a:solidFill>
          <a:ln w="19050">
            <a:solidFill>
              <a:schemeClr val="lt1"/>
            </a:solidFill>
          </a:ln>
          <a:effectLst/>
        </c:spPr>
      </c:pivotFmt>
      <c:pivotFmt>
        <c:idx val="8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1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"/>
        <c:spPr>
          <a:solidFill>
            <a:srgbClr val="FFC000"/>
          </a:solidFill>
          <a:ln w="19050">
            <a:solidFill>
              <a:schemeClr val="lt1"/>
            </a:solidFill>
          </a:ln>
          <a:effectLst/>
        </c:spPr>
      </c:pivotFmt>
      <c:pivotFmt>
        <c:idx val="10"/>
        <c:spPr>
          <a:solidFill>
            <a:srgbClr val="00B050"/>
          </a:solidFill>
          <a:ln w="19050">
            <a:solidFill>
              <a:schemeClr val="lt1"/>
            </a:solidFill>
          </a:ln>
          <a:effectLst/>
        </c:spPr>
      </c:pivotFmt>
      <c:pivotFmt>
        <c:idx val="11"/>
        <c:spPr>
          <a:solidFill>
            <a:srgbClr val="FF0000"/>
          </a:solidFill>
          <a:ln w="19050">
            <a:solidFill>
              <a:schemeClr val="lt1"/>
            </a:solidFill>
          </a:ln>
          <a:effectLst/>
        </c:spPr>
      </c:pivotFmt>
      <c:pivotFmt>
        <c:idx val="12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1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3"/>
        <c:spPr>
          <a:solidFill>
            <a:srgbClr val="FFC000"/>
          </a:solidFill>
          <a:ln w="19050">
            <a:solidFill>
              <a:schemeClr val="lt1"/>
            </a:solidFill>
          </a:ln>
          <a:effectLst/>
        </c:spPr>
      </c:pivotFmt>
      <c:pivotFmt>
        <c:idx val="14"/>
        <c:spPr>
          <a:solidFill>
            <a:srgbClr val="00B050"/>
          </a:solidFill>
          <a:ln w="19050">
            <a:solidFill>
              <a:schemeClr val="lt1"/>
            </a:solidFill>
          </a:ln>
          <a:effectLst/>
        </c:spPr>
      </c:pivotFmt>
      <c:pivotFmt>
        <c:idx val="15"/>
        <c:spPr>
          <a:solidFill>
            <a:srgbClr val="FF0000"/>
          </a:solidFill>
          <a:ln w="19050">
            <a:solidFill>
              <a:schemeClr val="lt1"/>
            </a:solidFill>
          </a:ln>
          <a:effectLst/>
        </c:spPr>
      </c:pivotFmt>
      <c:pivotFmt>
        <c:idx val="16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1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7"/>
        <c:spPr>
          <a:solidFill>
            <a:srgbClr val="FFC000"/>
          </a:solidFill>
          <a:ln w="19050">
            <a:solidFill>
              <a:schemeClr val="lt1"/>
            </a:solidFill>
          </a:ln>
          <a:effectLst/>
        </c:spPr>
      </c:pivotFmt>
      <c:pivotFmt>
        <c:idx val="18"/>
        <c:spPr>
          <a:solidFill>
            <a:srgbClr val="00B050"/>
          </a:solidFill>
          <a:ln w="19050">
            <a:solidFill>
              <a:schemeClr val="lt1"/>
            </a:solidFill>
          </a:ln>
          <a:effectLst/>
        </c:spPr>
      </c:pivotFmt>
      <c:pivotFmt>
        <c:idx val="19"/>
        <c:spPr>
          <a:solidFill>
            <a:srgbClr val="FF0000"/>
          </a:solidFill>
          <a:ln w="19050">
            <a:solidFill>
              <a:schemeClr val="lt1"/>
            </a:solidFill>
          </a:ln>
          <a:effectLst/>
        </c:spPr>
      </c:pivotFmt>
    </c:pivotFmts>
    <c:plotArea>
      <c:layout/>
      <c:doughnutChart>
        <c:varyColors val="1"/>
        <c:ser>
          <c:idx val="0"/>
          <c:order val="0"/>
          <c:tx>
            <c:strRef>
              <c:f>Sheet3!$B$3</c:f>
              <c:strCache>
                <c:ptCount val="1"/>
                <c:pt idx="0">
                  <c:v>Total</c:v>
                </c:pt>
              </c:strCache>
            </c:strRef>
          </c:tx>
          <c:dPt>
            <c:idx val="0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EB6-48AA-BBAF-233F7D985106}"/>
              </c:ext>
            </c:extLst>
          </c:dPt>
          <c:dPt>
            <c:idx val="1"/>
            <c:bubble3D val="0"/>
            <c:spPr>
              <a:solidFill>
                <a:srgbClr val="00B05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EB6-48AA-BBAF-233F7D985106}"/>
              </c:ext>
            </c:extLst>
          </c:dPt>
          <c:dPt>
            <c:idx val="2"/>
            <c:bubble3D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EB6-48AA-BBAF-233F7D985106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3!$A$4:$A$7</c:f>
              <c:strCache>
                <c:ptCount val="3"/>
                <c:pt idx="0">
                  <c:v>AMBER</c:v>
                </c:pt>
                <c:pt idx="1">
                  <c:v>GREEN</c:v>
                </c:pt>
                <c:pt idx="2">
                  <c:v>RED</c:v>
                </c:pt>
              </c:strCache>
            </c:strRef>
          </c:cat>
          <c:val>
            <c:numRef>
              <c:f>Sheet3!$B$4:$B$7</c:f>
              <c:numCache>
                <c:formatCode>General</c:formatCode>
                <c:ptCount val="3"/>
                <c:pt idx="0">
                  <c:v>2483</c:v>
                </c:pt>
                <c:pt idx="1">
                  <c:v>47798</c:v>
                </c:pt>
                <c:pt idx="2">
                  <c:v>175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EB6-48AA-BBAF-233F7D985106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6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Series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E&amp;M Initial Descriptive analysis.xlsx]Spotlight split!PivotTable9</c:name>
    <c:fmtId val="6"/>
  </c:pivotSource>
  <c:chart>
    <c:autoTitleDeleted val="1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rgbClr val="00B05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rgbClr val="00B05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rgbClr val="00B05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potlight split'!$E$3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potlight split'!$D$4:$D$9</c:f>
              <c:strCache>
                <c:ptCount val="5"/>
                <c:pt idx="0">
                  <c:v>IPFUV</c:v>
                </c:pt>
                <c:pt idx="1">
                  <c:v>ESTOV</c:v>
                </c:pt>
                <c:pt idx="2">
                  <c:v>EYEES</c:v>
                </c:pt>
                <c:pt idx="3">
                  <c:v>IPADM</c:v>
                </c:pt>
                <c:pt idx="4">
                  <c:v>EYENW</c:v>
                </c:pt>
              </c:strCache>
            </c:strRef>
          </c:cat>
          <c:val>
            <c:numRef>
              <c:f>'Spotlight split'!$E$4:$E$9</c:f>
              <c:numCache>
                <c:formatCode>General</c:formatCode>
                <c:ptCount val="5"/>
                <c:pt idx="0">
                  <c:v>2625</c:v>
                </c:pt>
                <c:pt idx="1">
                  <c:v>2589</c:v>
                </c:pt>
                <c:pt idx="2">
                  <c:v>2584</c:v>
                </c:pt>
                <c:pt idx="3">
                  <c:v>2505</c:v>
                </c:pt>
                <c:pt idx="4">
                  <c:v>24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4F6-43B3-A845-9F3A0E51978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598620079"/>
        <c:axId val="1598617199"/>
      </c:barChart>
      <c:catAx>
        <c:axId val="159862007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en-US"/>
          </a:p>
        </c:txPr>
        <c:crossAx val="1598617199"/>
        <c:crosses val="autoZero"/>
        <c:auto val="1"/>
        <c:lblAlgn val="ctr"/>
        <c:lblOffset val="100"/>
        <c:noMultiLvlLbl val="0"/>
      </c:catAx>
      <c:valAx>
        <c:axId val="1598617199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59862007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solidFill>
        <a:schemeClr val="bg1">
          <a:lumMod val="85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E&amp;M Initial Descriptive analysis.xlsx]Spotlight split!PivotTable8</c:name>
    <c:fmtId val="8"/>
  </c:pivotSource>
  <c:chart>
    <c:autoTitleDeleted val="1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rgbClr val="FFC00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rgbClr val="FFC00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rgbClr val="FFC00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potlight split'!$B$3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potlight split'!$A$4:$A$9</c:f>
              <c:strCache>
                <c:ptCount val="5"/>
                <c:pt idx="0">
                  <c:v>IPCON</c:v>
                </c:pt>
                <c:pt idx="1">
                  <c:v>OVCON</c:v>
                </c:pt>
                <c:pt idx="2">
                  <c:v>IPERV</c:v>
                </c:pt>
                <c:pt idx="3">
                  <c:v>NEWOV</c:v>
                </c:pt>
                <c:pt idx="4">
                  <c:v>NEWDC</c:v>
                </c:pt>
              </c:strCache>
            </c:strRef>
          </c:cat>
          <c:val>
            <c:numRef>
              <c:f>'Spotlight split'!$B$4:$B$9</c:f>
              <c:numCache>
                <c:formatCode>General</c:formatCode>
                <c:ptCount val="5"/>
                <c:pt idx="0">
                  <c:v>207</c:v>
                </c:pt>
                <c:pt idx="1">
                  <c:v>199</c:v>
                </c:pt>
                <c:pt idx="2">
                  <c:v>199</c:v>
                </c:pt>
                <c:pt idx="3">
                  <c:v>189</c:v>
                </c:pt>
                <c:pt idx="4">
                  <c:v>1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241-454D-AF91-73ADDE8D31B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598599439"/>
        <c:axId val="1598600399"/>
      </c:barChart>
      <c:catAx>
        <c:axId val="1598599439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en-US"/>
          </a:p>
        </c:txPr>
        <c:crossAx val="1598600399"/>
        <c:crosses val="autoZero"/>
        <c:auto val="1"/>
        <c:lblAlgn val="ctr"/>
        <c:lblOffset val="100"/>
        <c:noMultiLvlLbl val="0"/>
      </c:catAx>
      <c:valAx>
        <c:axId val="1598600399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5985994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solidFill>
        <a:schemeClr val="bg1">
          <a:lumMod val="85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E&amp;M Initial Descriptive analysis.xlsx]Spotlight split!PivotTable10</c:name>
    <c:fmtId val="8"/>
  </c:pivotSource>
  <c:chart>
    <c:autoTitleDeleted val="1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rgbClr val="FF000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rgbClr val="FF000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rgbClr val="FF000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4.4782657637802967E-2"/>
          <c:y val="4.8888888888888891E-2"/>
          <c:w val="0.92421396399756417"/>
          <c:h val="0.8476594925634295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Spotlight split'!$H$3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potlight split'!$G$4:$G$9</c:f>
              <c:strCache>
                <c:ptCount val="5"/>
                <c:pt idx="0">
                  <c:v>NEWAV</c:v>
                </c:pt>
                <c:pt idx="1">
                  <c:v>NEWAO</c:v>
                </c:pt>
                <c:pt idx="2">
                  <c:v>ESTAO</c:v>
                </c:pt>
                <c:pt idx="3">
                  <c:v>ESTAV</c:v>
                </c:pt>
                <c:pt idx="4">
                  <c:v>NEWDC</c:v>
                </c:pt>
              </c:strCache>
            </c:strRef>
          </c:cat>
          <c:val>
            <c:numRef>
              <c:f>'Spotlight split'!$H$4:$H$9</c:f>
              <c:numCache>
                <c:formatCode>General</c:formatCode>
                <c:ptCount val="5"/>
                <c:pt idx="0">
                  <c:v>1860</c:v>
                </c:pt>
                <c:pt idx="1">
                  <c:v>1860</c:v>
                </c:pt>
                <c:pt idx="2">
                  <c:v>1782</c:v>
                </c:pt>
                <c:pt idx="3">
                  <c:v>1782</c:v>
                </c:pt>
                <c:pt idx="4">
                  <c:v>7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D7D-414C-8424-F80FE0C7CBF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598630159"/>
        <c:axId val="1598630639"/>
      </c:barChart>
      <c:catAx>
        <c:axId val="159863015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en-US"/>
          </a:p>
        </c:txPr>
        <c:crossAx val="1598630639"/>
        <c:crosses val="autoZero"/>
        <c:auto val="1"/>
        <c:lblAlgn val="ctr"/>
        <c:lblOffset val="100"/>
        <c:noMultiLvlLbl val="0"/>
      </c:catAx>
      <c:valAx>
        <c:axId val="1598630639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5986301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solidFill>
        <a:schemeClr val="bg1">
          <a:lumMod val="85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BBB894-E1A7-FD43-A252-8B5A60C1F34A}" type="datetimeFigureOut">
              <a:rPr lang="en-US" smtClean="0"/>
              <a:t>9/10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FDFAEE0-8029-A94B-802A-8A286C4D3F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03324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708FC6-91E6-4FF4-91B0-110CA1AA77DC}" type="datetimeFigureOut">
              <a:rPr lang="en-US" smtClean="0"/>
              <a:t>9/10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6A8658-EB80-4DD7-A912-B2638ECE9F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79030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16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7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8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9.png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_Pla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3BB01A6-7C5D-A41D-5F0D-0C95A69AC02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274"/>
            <a:ext cx="12192000" cy="6853451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ED3526D-2D43-41BD-AE11-AFF0A422CC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48539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ED3526D-2D43-41BD-AE11-AFF0A422CC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DD15303-77E3-4216-BE36-733574EB514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5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Cover Slide Title Block"/>
          <p:cNvSpPr>
            <a:spLocks noGrp="1"/>
          </p:cNvSpPr>
          <p:nvPr>
            <p:ph type="ctrTitle" hasCustomPrompt="1"/>
          </p:nvPr>
        </p:nvSpPr>
        <p:spPr>
          <a:xfrm>
            <a:off x="458725" y="568156"/>
            <a:ext cx="6355543" cy="1253627"/>
          </a:xfrm>
          <a:noFill/>
        </p:spPr>
        <p:txBody>
          <a:bodyPr anchor="b">
            <a:noAutofit/>
          </a:bodyPr>
          <a:lstStyle>
            <a:lvl1pPr algn="l">
              <a:lnSpc>
                <a:spcPct val="85000"/>
              </a:lnSpc>
              <a:defRPr sz="44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Title Block</a:t>
            </a:r>
            <a:endParaRPr lang="en-US" noProof="0" dirty="0"/>
          </a:p>
        </p:txBody>
      </p:sp>
      <p:sp>
        <p:nvSpPr>
          <p:cNvPr id="3" name="Subtitle 2" descr="Cover Slide Subtitle Block"/>
          <p:cNvSpPr>
            <a:spLocks noGrp="1"/>
          </p:cNvSpPr>
          <p:nvPr>
            <p:ph type="subTitle" idx="1"/>
          </p:nvPr>
        </p:nvSpPr>
        <p:spPr>
          <a:xfrm>
            <a:off x="458725" y="2078542"/>
            <a:ext cx="6355543" cy="508228"/>
          </a:xfrm>
          <a:noFill/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accent2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F9A25BA6-4A77-EFA3-4896-A4ECA957862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028238" y="672756"/>
            <a:ext cx="1620837" cy="487362"/>
          </a:xfrm>
        </p:spPr>
        <p:txBody>
          <a:bodyPr/>
          <a:lstStyle>
            <a:lvl1pPr marL="0" indent="0" algn="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Insert date</a:t>
            </a:r>
          </a:p>
        </p:txBody>
      </p:sp>
    </p:spTree>
    <p:extLst>
      <p:ext uri="{BB962C8B-B14F-4D97-AF65-F5344CB8AC3E}">
        <p14:creationId xmlns:p14="http://schemas.microsoft.com/office/powerpoint/2010/main" val="23085941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Slide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E9512635-1EFB-BB92-9FB5-7DB1299EA2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471" y="0"/>
            <a:ext cx="12193469" cy="6857999"/>
          </a:xfrm>
          <a:prstGeom prst="rect">
            <a:avLst/>
          </a:prstGeom>
        </p:spPr>
      </p:pic>
      <p:sp>
        <p:nvSpPr>
          <p:cNvPr id="6" name="Title 1" descr="Title Block for Transition Slide with Photo #3">
            <a:extLst>
              <a:ext uri="{FF2B5EF4-FFF2-40B4-BE49-F238E27FC236}">
                <a16:creationId xmlns:a16="http://schemas.microsoft.com/office/drawing/2014/main" id="{15479701-FC2C-9E09-F959-2B8CE4ACC1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628" y="2679576"/>
            <a:ext cx="4917335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Simple Transition Slide</a:t>
            </a:r>
          </a:p>
        </p:txBody>
      </p:sp>
      <p:sp>
        <p:nvSpPr>
          <p:cNvPr id="8" name="Text Placeholder 2" descr="Subtitle Block for Transition Slide with Photo #3">
            <a:extLst>
              <a:ext uri="{FF2B5EF4-FFF2-40B4-BE49-F238E27FC236}">
                <a16:creationId xmlns:a16="http://schemas.microsoft.com/office/drawing/2014/main" id="{CD021792-47C6-240E-6EBD-156990E7E6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0628" y="4020563"/>
            <a:ext cx="4917335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704425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Slide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E9512635-1EFB-BB92-9FB5-7DB1299EA2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471" y="0"/>
            <a:ext cx="12193469" cy="6857999"/>
          </a:xfrm>
          <a:prstGeom prst="rect">
            <a:avLst/>
          </a:prstGeom>
        </p:spPr>
      </p:pic>
      <p:sp>
        <p:nvSpPr>
          <p:cNvPr id="6" name="Title 1" descr="Title Block for Transition Slide with Photo #3">
            <a:extLst>
              <a:ext uri="{FF2B5EF4-FFF2-40B4-BE49-F238E27FC236}">
                <a16:creationId xmlns:a16="http://schemas.microsoft.com/office/drawing/2014/main" id="{15479701-FC2C-9E09-F959-2B8CE4ACC1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628" y="2679576"/>
            <a:ext cx="4917335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Simple Transition Slide</a:t>
            </a:r>
          </a:p>
        </p:txBody>
      </p:sp>
      <p:sp>
        <p:nvSpPr>
          <p:cNvPr id="8" name="Text Placeholder 2" descr="Subtitle Block for Transition Slide with Photo #3">
            <a:extLst>
              <a:ext uri="{FF2B5EF4-FFF2-40B4-BE49-F238E27FC236}">
                <a16:creationId xmlns:a16="http://schemas.microsoft.com/office/drawing/2014/main" id="{CD021792-47C6-240E-6EBD-156990E7E6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0628" y="4020563"/>
            <a:ext cx="4917335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946645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Slide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E9512635-1EFB-BB92-9FB5-7DB1299EA2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471" y="0"/>
            <a:ext cx="12193469" cy="6857998"/>
          </a:xfrm>
          <a:prstGeom prst="rect">
            <a:avLst/>
          </a:prstGeom>
        </p:spPr>
      </p:pic>
      <p:sp>
        <p:nvSpPr>
          <p:cNvPr id="6" name="Title 1" descr="Title Block for Transition Slide with Photo #3">
            <a:extLst>
              <a:ext uri="{FF2B5EF4-FFF2-40B4-BE49-F238E27FC236}">
                <a16:creationId xmlns:a16="http://schemas.microsoft.com/office/drawing/2014/main" id="{15479701-FC2C-9E09-F959-2B8CE4ACC1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628" y="2679576"/>
            <a:ext cx="4917335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Simple Transition Slide</a:t>
            </a:r>
          </a:p>
        </p:txBody>
      </p:sp>
      <p:sp>
        <p:nvSpPr>
          <p:cNvPr id="8" name="Text Placeholder 2" descr="Subtitle Block for Transition Slide with Photo #3">
            <a:extLst>
              <a:ext uri="{FF2B5EF4-FFF2-40B4-BE49-F238E27FC236}">
                <a16:creationId xmlns:a16="http://schemas.microsoft.com/office/drawing/2014/main" id="{CD021792-47C6-240E-6EBD-156990E7E6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0628" y="4020563"/>
            <a:ext cx="4917335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50401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Slide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E9512635-1EFB-BB92-9FB5-7DB1299EA2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470" y="0"/>
            <a:ext cx="12193467" cy="6857998"/>
          </a:xfrm>
          <a:prstGeom prst="rect">
            <a:avLst/>
          </a:prstGeom>
        </p:spPr>
      </p:pic>
      <p:sp>
        <p:nvSpPr>
          <p:cNvPr id="6" name="Title 1" descr="Title Block for Transition Slide with Photo #3">
            <a:extLst>
              <a:ext uri="{FF2B5EF4-FFF2-40B4-BE49-F238E27FC236}">
                <a16:creationId xmlns:a16="http://schemas.microsoft.com/office/drawing/2014/main" id="{15479701-FC2C-9E09-F959-2B8CE4ACC1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628" y="2679576"/>
            <a:ext cx="4917335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Simple Transition Slide</a:t>
            </a:r>
          </a:p>
        </p:txBody>
      </p:sp>
      <p:sp>
        <p:nvSpPr>
          <p:cNvPr id="8" name="Text Placeholder 2" descr="Subtitle Block for Transition Slide with Photo #3">
            <a:extLst>
              <a:ext uri="{FF2B5EF4-FFF2-40B4-BE49-F238E27FC236}">
                <a16:creationId xmlns:a16="http://schemas.microsoft.com/office/drawing/2014/main" id="{CD021792-47C6-240E-6EBD-156990E7E6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0628" y="4020563"/>
            <a:ext cx="4917335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9725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078E6D68-4D79-9F98-7509-20DA25AB725A}"/>
              </a:ext>
            </a:extLst>
          </p:cNvPr>
          <p:cNvSpPr/>
          <p:nvPr userDrawn="1"/>
        </p:nvSpPr>
        <p:spPr>
          <a:xfrm>
            <a:off x="0" y="0"/>
            <a:ext cx="12192000" cy="137159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 descr="A purple question mark in a circle&#10;&#10;Description automatically generated">
            <a:extLst>
              <a:ext uri="{FF2B5EF4-FFF2-40B4-BE49-F238E27FC236}">
                <a16:creationId xmlns:a16="http://schemas.microsoft.com/office/drawing/2014/main" id="{C5A8A0F2-6897-5156-AE8A-E3BD857A7D9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8405" y="175470"/>
            <a:ext cx="960176" cy="960176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1E0F2D7-0F5A-4A9D-8A08-922C8FAFEA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0983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1E0F2D7-0F5A-4A9D-8A08-922C8FAFE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D21CE2-77EF-4574-A29F-7F8EABAA20B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 Placeholder 2" descr="Slide Content Box"/>
          <p:cNvSpPr>
            <a:spLocks noGrp="1"/>
          </p:cNvSpPr>
          <p:nvPr>
            <p:ph type="body" sz="quarter" idx="13"/>
          </p:nvPr>
        </p:nvSpPr>
        <p:spPr>
          <a:xfrm>
            <a:off x="457200" y="1844703"/>
            <a:ext cx="11277600" cy="4332262"/>
          </a:xfrm>
        </p:spPr>
        <p:txBody>
          <a:bodyPr/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+mj-lt"/>
              <a:buAutoNum type="alphaLcPeriod"/>
              <a:tabLst/>
              <a:defRPr>
                <a:latin typeface="+mn-lt"/>
              </a:defRPr>
            </a:lvl1pPr>
            <a:lvl2pPr marL="3429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+mj-lt"/>
              <a:buAutoNum type="alphaLcPeriod"/>
              <a:tabLst/>
              <a:defRPr>
                <a:latin typeface="+mn-lt"/>
              </a:defRPr>
            </a:lvl2pPr>
            <a:lvl3pPr marL="3429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+mj-lt"/>
              <a:buAutoNum type="alphaLcPeriod"/>
              <a:tabLst/>
              <a:defRPr>
                <a:latin typeface="+mn-lt"/>
              </a:defRPr>
            </a:lvl3pPr>
            <a:lvl4pPr marL="3429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+mj-lt"/>
              <a:buAutoNum type="alphaLcPeriod"/>
              <a:tabLst/>
              <a:defRPr>
                <a:latin typeface="+mn-lt"/>
              </a:defRPr>
            </a:lvl4pPr>
            <a:lvl5pPr marL="3429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+mj-lt"/>
              <a:buAutoNum type="alphaLcPeriod"/>
              <a:tabLst/>
              <a:defRPr>
                <a:latin typeface="+mn-lt"/>
              </a:defRPr>
            </a:lvl5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3429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342900" marR="0" lvl="2" indent="-342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342900" marR="0" lvl="3" indent="-342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342900" marR="0" lvl="4" indent="-342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8" name="Title 1" descr="Slide Title"/>
          <p:cNvSpPr>
            <a:spLocks noGrp="1"/>
          </p:cNvSpPr>
          <p:nvPr>
            <p:ph type="title" hasCustomPrompt="1"/>
          </p:nvPr>
        </p:nvSpPr>
        <p:spPr>
          <a:xfrm>
            <a:off x="457200" y="643394"/>
            <a:ext cx="9831788" cy="479829"/>
          </a:xfrm>
        </p:spPr>
        <p:txBody>
          <a:bodyPr anchor="t"/>
          <a:lstStyle/>
          <a:p>
            <a:r>
              <a:rPr lang="en-US" noProof="0" dirty="0"/>
              <a:t>Question goes here</a:t>
            </a:r>
          </a:p>
        </p:txBody>
      </p:sp>
      <p:sp>
        <p:nvSpPr>
          <p:cNvPr id="7" name="Subtitle 2" descr="Slide Subtitle">
            <a:extLst>
              <a:ext uri="{FF2B5EF4-FFF2-40B4-BE49-F238E27FC236}">
                <a16:creationId xmlns:a16="http://schemas.microsoft.com/office/drawing/2014/main" id="{586A90E9-43A9-0241-B222-93E31583519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8726" y="340921"/>
            <a:ext cx="9830458" cy="254861"/>
          </a:xfrm>
          <a:noFill/>
        </p:spPr>
        <p:txBody>
          <a:bodyPr/>
          <a:lstStyle>
            <a:lvl1pPr marL="0" indent="0" algn="l">
              <a:buNone/>
              <a:defRPr sz="1500">
                <a:solidFill>
                  <a:schemeClr val="accent2"/>
                </a:solidFill>
                <a:latin typeface="+mn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 dirty="0"/>
              <a:t>Poll #1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75F6FAD-521F-8649-9770-0CC18551A48B}"/>
              </a:ext>
            </a:extLst>
          </p:cNvPr>
          <p:cNvSpPr txBox="1"/>
          <p:nvPr userDrawn="1"/>
        </p:nvSpPr>
        <p:spPr>
          <a:xfrm>
            <a:off x="-648182" y="3750197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55835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1E0F2D7-0F5A-4A9D-8A08-922C8FAFEA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146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1E0F2D7-0F5A-4A9D-8A08-922C8FAFE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D21CE2-77EF-4574-A29F-7F8EABAA20B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 Placeholder 2" descr="Slide Content Box"/>
          <p:cNvSpPr>
            <a:spLocks noGrp="1"/>
          </p:cNvSpPr>
          <p:nvPr>
            <p:ph type="body" sz="quarter" idx="13"/>
          </p:nvPr>
        </p:nvSpPr>
        <p:spPr>
          <a:xfrm>
            <a:off x="457200" y="1282699"/>
            <a:ext cx="11277600" cy="4894265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8" name="Title 1" descr="Slide Title"/>
          <p:cNvSpPr>
            <a:spLocks noGrp="1"/>
          </p:cNvSpPr>
          <p:nvPr>
            <p:ph type="title" hasCustomPrompt="1"/>
          </p:nvPr>
        </p:nvSpPr>
        <p:spPr>
          <a:xfrm>
            <a:off x="457200" y="365123"/>
            <a:ext cx="11274552" cy="765177"/>
          </a:xfrm>
        </p:spPr>
        <p:txBody>
          <a:bodyPr anchor="t"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8149751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b_Title w/Sub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1E0F2D7-0F5A-4A9D-8A08-922C8FAFEA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0983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1E0F2D7-0F5A-4A9D-8A08-922C8FAFE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D21CE2-77EF-4574-A29F-7F8EABAA20B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 Placeholder 2" descr="Slide Content Box"/>
          <p:cNvSpPr>
            <a:spLocks noGrp="1"/>
          </p:cNvSpPr>
          <p:nvPr>
            <p:ph type="body" sz="quarter" idx="13"/>
          </p:nvPr>
        </p:nvSpPr>
        <p:spPr>
          <a:xfrm>
            <a:off x="457200" y="1282149"/>
            <a:ext cx="11277600" cy="4894816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8" name="Title 1" descr="Slide Title"/>
          <p:cNvSpPr>
            <a:spLocks noGrp="1"/>
          </p:cNvSpPr>
          <p:nvPr>
            <p:ph type="title" hasCustomPrompt="1"/>
          </p:nvPr>
        </p:nvSpPr>
        <p:spPr>
          <a:xfrm>
            <a:off x="457200" y="365123"/>
            <a:ext cx="11274552" cy="340115"/>
          </a:xfrm>
        </p:spPr>
        <p:txBody>
          <a:bodyPr anchor="t"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7" name="Subtitle 2" descr="Slide Subtitle">
            <a:extLst>
              <a:ext uri="{FF2B5EF4-FFF2-40B4-BE49-F238E27FC236}">
                <a16:creationId xmlns:a16="http://schemas.microsoft.com/office/drawing/2014/main" id="{586A90E9-43A9-0241-B222-93E31583519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725" y="756076"/>
            <a:ext cx="11273027" cy="340115"/>
          </a:xfrm>
          <a:noFill/>
        </p:spPr>
        <p:txBody>
          <a:bodyPr/>
          <a:lstStyle>
            <a:lvl1pPr marL="0" indent="0" algn="l">
              <a:buNone/>
              <a:defRPr sz="1500">
                <a:solidFill>
                  <a:schemeClr val="accent2"/>
                </a:solidFill>
                <a:latin typeface="+mn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75F6FAD-521F-8649-9770-0CC18551A48B}"/>
              </a:ext>
            </a:extLst>
          </p:cNvPr>
          <p:cNvSpPr txBox="1"/>
          <p:nvPr userDrawn="1"/>
        </p:nvSpPr>
        <p:spPr>
          <a:xfrm>
            <a:off x="-648182" y="3750197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32690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5FC6BDF-F541-4BDE-A284-229958FCDC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5161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5FC6BDF-F541-4BDE-A284-229958FCDC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95B871D-E513-4E1E-9214-58513D42594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2" descr="Slide Content Box 1"/>
          <p:cNvSpPr>
            <a:spLocks noGrp="1"/>
          </p:cNvSpPr>
          <p:nvPr>
            <p:ph type="body" sz="quarter" idx="13"/>
          </p:nvPr>
        </p:nvSpPr>
        <p:spPr>
          <a:xfrm>
            <a:off x="457201" y="1284789"/>
            <a:ext cx="5540828" cy="4892175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9" name="Content Placeholder 8" descr="Slide Content Box 2">
            <a:extLst>
              <a:ext uri="{FF2B5EF4-FFF2-40B4-BE49-F238E27FC236}">
                <a16:creationId xmlns:a16="http://schemas.microsoft.com/office/drawing/2014/main" id="{C7EF0788-9E9D-4BA3-A132-B323D31F49B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94426" y="1284790"/>
            <a:ext cx="5540375" cy="4892174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02938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99930E-69B7-4A72-98BD-FBA90240F6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10393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99930E-69B7-4A72-98BD-FBA90240F6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FE23A40-4642-46FC-80E3-90E9C2B1C50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 descr="Slide Content Box 1"/>
          <p:cNvSpPr>
            <a:spLocks noGrp="1"/>
          </p:cNvSpPr>
          <p:nvPr>
            <p:ph type="body" sz="quarter" idx="13"/>
          </p:nvPr>
        </p:nvSpPr>
        <p:spPr>
          <a:xfrm>
            <a:off x="457201" y="1284251"/>
            <a:ext cx="3635828" cy="4892714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6" name="Content Placeholder 5" descr="Slide Content Box 2">
            <a:extLst>
              <a:ext uri="{FF2B5EF4-FFF2-40B4-BE49-F238E27FC236}">
                <a16:creationId xmlns:a16="http://schemas.microsoft.com/office/drawing/2014/main" id="{A8C7E46B-CD8E-4D36-BE34-7C73F0219F3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278312" y="1284790"/>
            <a:ext cx="3635375" cy="4892174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2" name="Content Placeholder 11" descr="Slide Content Box 3">
            <a:extLst>
              <a:ext uri="{FF2B5EF4-FFF2-40B4-BE49-F238E27FC236}">
                <a16:creationId xmlns:a16="http://schemas.microsoft.com/office/drawing/2014/main" id="{EF5E564C-1C39-4E0A-8A8C-A855C1988BD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099425" y="1284790"/>
            <a:ext cx="3635375" cy="4892174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09583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3F771D-7E10-4FFE-B948-BFE76CF37D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5591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3F771D-7E10-4FFE-B948-BFE76CF37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9CA6C2-9D60-45FF-9641-C2D9617089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 descr="Slide Content Box 1"/>
          <p:cNvSpPr>
            <a:spLocks noGrp="1"/>
          </p:cNvSpPr>
          <p:nvPr>
            <p:ph type="body" sz="quarter" idx="13"/>
          </p:nvPr>
        </p:nvSpPr>
        <p:spPr>
          <a:xfrm>
            <a:off x="457200" y="1284777"/>
            <a:ext cx="5537200" cy="2353085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6" name="Content Placeholder 5" descr="Slide Content Box 2">
            <a:extLst>
              <a:ext uri="{FF2B5EF4-FFF2-40B4-BE49-F238E27FC236}">
                <a16:creationId xmlns:a16="http://schemas.microsoft.com/office/drawing/2014/main" id="{FD3143AB-9394-4B1D-9AD7-9DF0B2E4F9E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97602" y="1284790"/>
            <a:ext cx="5537200" cy="2352771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3" name="Content Placeholder 12" descr="Slide Content Box 3">
            <a:extLst>
              <a:ext uri="{FF2B5EF4-FFF2-40B4-BE49-F238E27FC236}">
                <a16:creationId xmlns:a16="http://schemas.microsoft.com/office/drawing/2014/main" id="{509CF4F7-9D97-406F-82B7-FF24AA990C4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57200" y="3823507"/>
            <a:ext cx="5537200" cy="2352769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5" name="Content Placeholder 14" descr="Slide Content Box 4">
            <a:extLst>
              <a:ext uri="{FF2B5EF4-FFF2-40B4-BE49-F238E27FC236}">
                <a16:creationId xmlns:a16="http://schemas.microsoft.com/office/drawing/2014/main" id="{9BE0B341-71E8-47CC-A829-8E7D98106D1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97600" y="3822759"/>
            <a:ext cx="5537200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22354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Photographi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8D0F3227-1B90-EB7B-C22A-CC853B1D1F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10" y="1861"/>
            <a:ext cx="12185382" cy="6853451"/>
          </a:xfrm>
          <a:prstGeom prst="rect">
            <a:avLst/>
          </a:prstGeom>
        </p:spPr>
      </p:pic>
      <p:sp>
        <p:nvSpPr>
          <p:cNvPr id="7" name="Title 1" descr="Cover Slide Title Block">
            <a:extLst>
              <a:ext uri="{FF2B5EF4-FFF2-40B4-BE49-F238E27FC236}">
                <a16:creationId xmlns:a16="http://schemas.microsoft.com/office/drawing/2014/main" id="{143ABBE6-1ECC-E0B5-3449-9E6EDEDAABC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8725" y="568156"/>
            <a:ext cx="6355543" cy="1253627"/>
          </a:xfrm>
          <a:noFill/>
        </p:spPr>
        <p:txBody>
          <a:bodyPr anchor="b">
            <a:noAutofit/>
          </a:bodyPr>
          <a:lstStyle>
            <a:lvl1pPr algn="l">
              <a:lnSpc>
                <a:spcPct val="85000"/>
              </a:lnSpc>
              <a:defRPr sz="44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Title Block</a:t>
            </a:r>
            <a:endParaRPr lang="en-US" noProof="0" dirty="0"/>
          </a:p>
        </p:txBody>
      </p:sp>
      <p:sp>
        <p:nvSpPr>
          <p:cNvPr id="8" name="Subtitle 2" descr="Cover Slide Subtitle Block">
            <a:extLst>
              <a:ext uri="{FF2B5EF4-FFF2-40B4-BE49-F238E27FC236}">
                <a16:creationId xmlns:a16="http://schemas.microsoft.com/office/drawing/2014/main" id="{C3C57352-BAE4-80E3-F850-607C5E6E4BC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725" y="2078542"/>
            <a:ext cx="6355543" cy="508228"/>
          </a:xfrm>
          <a:noFill/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accent2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076D4415-7280-B200-5BDD-714C96DB263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8725" y="5818384"/>
            <a:ext cx="1620837" cy="487362"/>
          </a:xfrm>
        </p:spPr>
        <p:txBody>
          <a:bodyPr/>
          <a:lstStyle>
            <a:lvl1pPr marL="0" indent="0" algn="l">
              <a:buNone/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Insert date</a:t>
            </a:r>
          </a:p>
        </p:txBody>
      </p:sp>
    </p:spTree>
    <p:extLst>
      <p:ext uri="{BB962C8B-B14F-4D97-AF65-F5344CB8AC3E}">
        <p14:creationId xmlns:p14="http://schemas.microsoft.com/office/powerpoint/2010/main" val="179867368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imary Content with 2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3F771D-7E10-4FFE-B948-BFE76CF37D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8685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3F771D-7E10-4FFE-B948-BFE76CF37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9CA6C2-9D60-45FF-9641-C2D9617089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 descr="Slide Content Box Left"/>
          <p:cNvSpPr>
            <a:spLocks noGrp="1"/>
          </p:cNvSpPr>
          <p:nvPr>
            <p:ph type="body" sz="quarter" idx="13"/>
          </p:nvPr>
        </p:nvSpPr>
        <p:spPr>
          <a:xfrm>
            <a:off x="457200" y="1284777"/>
            <a:ext cx="5537200" cy="4890752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6" name="Content Placeholder 5" descr="Slide Content Box RIght 1">
            <a:extLst>
              <a:ext uri="{FF2B5EF4-FFF2-40B4-BE49-F238E27FC236}">
                <a16:creationId xmlns:a16="http://schemas.microsoft.com/office/drawing/2014/main" id="{FD3143AB-9394-4B1D-9AD7-9DF0B2E4F9E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97602" y="1284790"/>
            <a:ext cx="5537200" cy="2352771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5" name="Content Placeholder 14" descr="Slide Content Box Right 2">
            <a:extLst>
              <a:ext uri="{FF2B5EF4-FFF2-40B4-BE49-F238E27FC236}">
                <a16:creationId xmlns:a16="http://schemas.microsoft.com/office/drawing/2014/main" id="{9BE0B341-71E8-47CC-A829-8E7D98106D1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97600" y="3822759"/>
            <a:ext cx="5537200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901215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rimary Content with 3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3F771D-7E10-4FFE-B948-BFE76CF37D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9981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3F771D-7E10-4FFE-B948-BFE76CF37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9CA6C2-9D60-45FF-9641-C2D9617089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 descr="Slide Content Box Left"/>
          <p:cNvSpPr>
            <a:spLocks noGrp="1"/>
          </p:cNvSpPr>
          <p:nvPr>
            <p:ph type="body" sz="quarter" idx="13"/>
          </p:nvPr>
        </p:nvSpPr>
        <p:spPr>
          <a:xfrm>
            <a:off x="457200" y="1284777"/>
            <a:ext cx="5537200" cy="4890752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6" name="Content Placeholder 5" descr="Slide Content Box RIght 1">
            <a:extLst>
              <a:ext uri="{FF2B5EF4-FFF2-40B4-BE49-F238E27FC236}">
                <a16:creationId xmlns:a16="http://schemas.microsoft.com/office/drawing/2014/main" id="{FD3143AB-9394-4B1D-9AD7-9DF0B2E4F9E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97602" y="1284790"/>
            <a:ext cx="5537200" cy="1557801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9" name="Content Placeholder 5" descr="Slide Content Box RIght 2">
            <a:extLst>
              <a:ext uri="{FF2B5EF4-FFF2-40B4-BE49-F238E27FC236}">
                <a16:creationId xmlns:a16="http://schemas.microsoft.com/office/drawing/2014/main" id="{97C43893-4A0E-5149-982B-207C91730798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197602" y="2970794"/>
            <a:ext cx="5537200" cy="1557801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0" name="Content Placeholder 5" descr="Slide Content Box RIght 3">
            <a:extLst>
              <a:ext uri="{FF2B5EF4-FFF2-40B4-BE49-F238E27FC236}">
                <a16:creationId xmlns:a16="http://schemas.microsoft.com/office/drawing/2014/main" id="{F6047B48-9C37-7B43-B81B-D0D2810BB875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97602" y="4656798"/>
            <a:ext cx="5537200" cy="1557801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380671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rimary Content with 4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3F771D-7E10-4FFE-B948-BFE76CF37D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01388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3F771D-7E10-4FFE-B948-BFE76CF37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9CA6C2-9D60-45FF-9641-C2D9617089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 descr="Slide Content Box Left"/>
          <p:cNvSpPr>
            <a:spLocks noGrp="1"/>
          </p:cNvSpPr>
          <p:nvPr>
            <p:ph type="body" sz="quarter" idx="13"/>
          </p:nvPr>
        </p:nvSpPr>
        <p:spPr>
          <a:xfrm>
            <a:off x="457200" y="1284777"/>
            <a:ext cx="4018986" cy="4890752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1" name="Content Placeholder 5" descr="Slide Content Box RIght 1">
            <a:extLst>
              <a:ext uri="{FF2B5EF4-FFF2-40B4-BE49-F238E27FC236}">
                <a16:creationId xmlns:a16="http://schemas.microsoft.com/office/drawing/2014/main" id="{99F7D177-AEC0-A94D-9080-BFF80DD04C5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657036" y="1284790"/>
            <a:ext cx="3446935" cy="2352771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2" name="Content Placeholder 14" descr="Slide Content Box RIght 3">
            <a:extLst>
              <a:ext uri="{FF2B5EF4-FFF2-40B4-BE49-F238E27FC236}">
                <a16:creationId xmlns:a16="http://schemas.microsoft.com/office/drawing/2014/main" id="{5BAE3F57-E64C-E548-8EF6-DBC71FC15CB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657034" y="3822759"/>
            <a:ext cx="3446935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3" name="Content Placeholder 5" descr="Slide Content Box RIght 2">
            <a:extLst>
              <a:ext uri="{FF2B5EF4-FFF2-40B4-BE49-F238E27FC236}">
                <a16:creationId xmlns:a16="http://schemas.microsoft.com/office/drawing/2014/main" id="{3EEE4A13-329A-C64B-A43E-3F785D89F37B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8284819" y="1284790"/>
            <a:ext cx="3446935" cy="2352771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4" name="Content Placeholder 14" descr="Slide Content Box RIght 4">
            <a:extLst>
              <a:ext uri="{FF2B5EF4-FFF2-40B4-BE49-F238E27FC236}">
                <a16:creationId xmlns:a16="http://schemas.microsoft.com/office/drawing/2014/main" id="{B661338A-6516-B94C-AFEE-23AD4F17A543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284817" y="3822759"/>
            <a:ext cx="3446935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2628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rimary with Callouts Low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3F771D-7E10-4FFE-B948-BFE76CF37D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69686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3F771D-7E10-4FFE-B948-BFE76CF37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9CA6C2-9D60-45FF-9641-C2D9617089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 descr="Slide Content Box Center Across the Top"/>
          <p:cNvSpPr>
            <a:spLocks noGrp="1"/>
          </p:cNvSpPr>
          <p:nvPr>
            <p:ph type="body" sz="quarter" idx="13"/>
          </p:nvPr>
        </p:nvSpPr>
        <p:spPr>
          <a:xfrm>
            <a:off x="457199" y="1284777"/>
            <a:ext cx="11274551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2" name="Content Placeholder 14" descr="Slide Content Box Lower Middle">
            <a:extLst>
              <a:ext uri="{FF2B5EF4-FFF2-40B4-BE49-F238E27FC236}">
                <a16:creationId xmlns:a16="http://schemas.microsoft.com/office/drawing/2014/main" id="{5BAE3F57-E64C-E548-8EF6-DBC71FC15CB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373769" y="3816626"/>
            <a:ext cx="3446935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4" name="Content Placeholder 14" descr="Slide Content Box Lower RIght">
            <a:extLst>
              <a:ext uri="{FF2B5EF4-FFF2-40B4-BE49-F238E27FC236}">
                <a16:creationId xmlns:a16="http://schemas.microsoft.com/office/drawing/2014/main" id="{B661338A-6516-B94C-AFEE-23AD4F17A543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284817" y="3816626"/>
            <a:ext cx="3446935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5" name="Content Placeholder 14" descr="Slide Content Box Lower Left ">
            <a:extLst>
              <a:ext uri="{FF2B5EF4-FFF2-40B4-BE49-F238E27FC236}">
                <a16:creationId xmlns:a16="http://schemas.microsoft.com/office/drawing/2014/main" id="{CC08F38A-6162-5E40-A5BD-6C486A6B60E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62721" y="3822759"/>
            <a:ext cx="3446935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885236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rimary with Callouts Upp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3F771D-7E10-4FFE-B948-BFE76CF37D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6100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3F771D-7E10-4FFE-B948-BFE76CF37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9CA6C2-9D60-45FF-9641-C2D9617089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 descr="Slide Content Box Lower "/>
          <p:cNvSpPr>
            <a:spLocks noGrp="1"/>
          </p:cNvSpPr>
          <p:nvPr>
            <p:ph type="body" sz="quarter" idx="13"/>
          </p:nvPr>
        </p:nvSpPr>
        <p:spPr>
          <a:xfrm>
            <a:off x="457199" y="3834420"/>
            <a:ext cx="11274551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2" name="Content Placeholder 14" descr="Slide Content Box Upper Middle">
            <a:extLst>
              <a:ext uri="{FF2B5EF4-FFF2-40B4-BE49-F238E27FC236}">
                <a16:creationId xmlns:a16="http://schemas.microsoft.com/office/drawing/2014/main" id="{5BAE3F57-E64C-E548-8EF6-DBC71FC15CB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373769" y="1278644"/>
            <a:ext cx="3446935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4" name="Content Placeholder 14" descr="Slide Content Box Upper RIght ">
            <a:extLst>
              <a:ext uri="{FF2B5EF4-FFF2-40B4-BE49-F238E27FC236}">
                <a16:creationId xmlns:a16="http://schemas.microsoft.com/office/drawing/2014/main" id="{B661338A-6516-B94C-AFEE-23AD4F17A543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284817" y="1278644"/>
            <a:ext cx="3446935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5" name="Content Placeholder 14" descr="Slide Content Box Upper Left">
            <a:extLst>
              <a:ext uri="{FF2B5EF4-FFF2-40B4-BE49-F238E27FC236}">
                <a16:creationId xmlns:a16="http://schemas.microsoft.com/office/drawing/2014/main" id="{CC08F38A-6162-5E40-A5BD-6C486A6B60E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62721" y="1284777"/>
            <a:ext cx="3446935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3999073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7C99ECC-8008-4DDC-B9AD-9F32F5DD1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6780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7C99ECC-8008-4DDC-B9AD-9F32F5DD1C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0A71401-5A22-4971-8A91-0DF6AFAF685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. The rest of the slide is blank.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45968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186716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ple_Title and Cont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1E0F2D7-0F5A-4A9D-8A08-922C8FAFEA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1E0F2D7-0F5A-4A9D-8A08-922C8FAFE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D21CE2-77EF-4574-A29F-7F8EABAA20B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 Placeholder 2" descr="Slide Content"/>
          <p:cNvSpPr>
            <a:spLocks noGrp="1"/>
          </p:cNvSpPr>
          <p:nvPr>
            <p:ph type="body" sz="quarter" idx="13"/>
          </p:nvPr>
        </p:nvSpPr>
        <p:spPr>
          <a:xfrm>
            <a:off x="457200" y="1282149"/>
            <a:ext cx="11277600" cy="4894816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to 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Second level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Third level</a:t>
            </a:r>
          </a:p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Fourth level</a:t>
            </a:r>
          </a:p>
          <a:p>
            <a:pPr marL="0" marR="0" lvl="4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Fifth level</a:t>
            </a:r>
          </a:p>
        </p:txBody>
      </p:sp>
      <p:sp>
        <p:nvSpPr>
          <p:cNvPr id="8" name="Title 1" descr="Slide Title"/>
          <p:cNvSpPr>
            <a:spLocks noGrp="1"/>
          </p:cNvSpPr>
          <p:nvPr>
            <p:ph type="title" hasCustomPrompt="1"/>
          </p:nvPr>
        </p:nvSpPr>
        <p:spPr>
          <a:xfrm>
            <a:off x="457200" y="365123"/>
            <a:ext cx="11274552" cy="777240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7747634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urple_Titl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5FC6BDF-F541-4BDE-A284-229958FCDC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15871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5FC6BDF-F541-4BDE-A284-229958FCDC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95B871D-E513-4E1E-9214-58513D42594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"/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131491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Quote(s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white lines on a purple background&#10;&#10;Description automatically generated">
            <a:extLst>
              <a:ext uri="{FF2B5EF4-FFF2-40B4-BE49-F238E27FC236}">
                <a16:creationId xmlns:a16="http://schemas.microsoft.com/office/drawing/2014/main" id="{9C390B7A-2028-C706-F34F-02335345BD0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717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</p:pic>
      <p:sp>
        <p:nvSpPr>
          <p:cNvPr id="6" name="Title 1" descr="Quote Area Here">
            <a:extLst>
              <a:ext uri="{FF2B5EF4-FFF2-40B4-BE49-F238E27FC236}">
                <a16:creationId xmlns:a16="http://schemas.microsoft.com/office/drawing/2014/main" id="{3C06EAAB-280D-CE63-BCFF-854D579602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6276" y="1643932"/>
            <a:ext cx="9299448" cy="3819890"/>
          </a:xfrm>
        </p:spPr>
        <p:txBody>
          <a:bodyPr anchor="ctr">
            <a:noAutofit/>
          </a:bodyPr>
          <a:lstStyle>
            <a:lvl1pPr algn="ctr">
              <a:defRPr sz="36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dirty="0"/>
              <a:t>“Quote Slide”</a:t>
            </a:r>
            <a:endParaRPr lang="en-US" dirty="0"/>
          </a:p>
        </p:txBody>
      </p:sp>
      <p:sp>
        <p:nvSpPr>
          <p:cNvPr id="10" name="Text Placeholder 2" descr="Quote Attribution Area">
            <a:extLst>
              <a:ext uri="{FF2B5EF4-FFF2-40B4-BE49-F238E27FC236}">
                <a16:creationId xmlns:a16="http://schemas.microsoft.com/office/drawing/2014/main" id="{158E7F2F-9E6B-FAA7-0892-FBCA6EAFD2D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446276" y="5689158"/>
            <a:ext cx="9299448" cy="401247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Attribution</a:t>
            </a:r>
          </a:p>
        </p:txBody>
      </p:sp>
    </p:spTree>
    <p:extLst>
      <p:ext uri="{BB962C8B-B14F-4D97-AF65-F5344CB8AC3E}">
        <p14:creationId xmlns:p14="http://schemas.microsoft.com/office/powerpoint/2010/main" val="15075201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- Photographi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9FC0A75-9612-45DB-896D-BED63A9DAC6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10" y="1861"/>
            <a:ext cx="12185382" cy="6853450"/>
          </a:xfrm>
          <a:prstGeom prst="rect">
            <a:avLst/>
          </a:prstGeom>
        </p:spPr>
      </p:pic>
      <p:sp>
        <p:nvSpPr>
          <p:cNvPr id="6" name="Title 1" descr="Cover Slide Title Block">
            <a:extLst>
              <a:ext uri="{FF2B5EF4-FFF2-40B4-BE49-F238E27FC236}">
                <a16:creationId xmlns:a16="http://schemas.microsoft.com/office/drawing/2014/main" id="{C34AC2C2-3A0F-3511-1675-66F2C94741F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8725" y="568156"/>
            <a:ext cx="6355543" cy="1253627"/>
          </a:xfrm>
          <a:noFill/>
        </p:spPr>
        <p:txBody>
          <a:bodyPr anchor="b">
            <a:noAutofit/>
          </a:bodyPr>
          <a:lstStyle>
            <a:lvl1pPr algn="l">
              <a:lnSpc>
                <a:spcPct val="85000"/>
              </a:lnSpc>
              <a:defRPr sz="44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Title Block</a:t>
            </a:r>
            <a:endParaRPr lang="en-US" noProof="0" dirty="0"/>
          </a:p>
        </p:txBody>
      </p:sp>
      <p:sp>
        <p:nvSpPr>
          <p:cNvPr id="7" name="Subtitle 2" descr="Cover Slide Subtitle Block">
            <a:extLst>
              <a:ext uri="{FF2B5EF4-FFF2-40B4-BE49-F238E27FC236}">
                <a16:creationId xmlns:a16="http://schemas.microsoft.com/office/drawing/2014/main" id="{0CD4C56A-7FA1-2F46-CE85-7D5B157867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725" y="2078542"/>
            <a:ext cx="6355543" cy="508228"/>
          </a:xfrm>
          <a:noFill/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accent2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FA4E227D-96AE-BA31-6418-EC933EE1FFC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8725" y="5818384"/>
            <a:ext cx="1620837" cy="487362"/>
          </a:xfrm>
        </p:spPr>
        <p:txBody>
          <a:bodyPr/>
          <a:lstStyle>
            <a:lvl1pPr marL="0" indent="0" algn="l">
              <a:buNone/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Insert date</a:t>
            </a:r>
          </a:p>
        </p:txBody>
      </p:sp>
    </p:spTree>
    <p:extLst>
      <p:ext uri="{BB962C8B-B14F-4D97-AF65-F5344CB8AC3E}">
        <p14:creationId xmlns:p14="http://schemas.microsoft.com/office/powerpoint/2010/main" val="268604192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Quote(s)-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0A9EC8F-1598-E3DF-75CF-46108124E1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0"/>
            <a:ext cx="12191997" cy="6857171"/>
          </a:xfrm>
          <a:prstGeom prst="rect">
            <a:avLst/>
          </a:prstGeom>
        </p:spPr>
      </p:pic>
      <p:sp>
        <p:nvSpPr>
          <p:cNvPr id="8" name="Title 1" descr="Quote Area Here">
            <a:extLst>
              <a:ext uri="{FF2B5EF4-FFF2-40B4-BE49-F238E27FC236}">
                <a16:creationId xmlns:a16="http://schemas.microsoft.com/office/drawing/2014/main" id="{C5AD0C9C-3B56-F747-99CD-3AE0655749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6276" y="1643932"/>
            <a:ext cx="9299448" cy="3819890"/>
          </a:xfrm>
        </p:spPr>
        <p:txBody>
          <a:bodyPr anchor="ctr">
            <a:noAutofit/>
          </a:bodyPr>
          <a:lstStyle>
            <a:lvl1pPr algn="ctr"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“Quote Slide”</a:t>
            </a:r>
            <a:endParaRPr lang="en-US" dirty="0"/>
          </a:p>
        </p:txBody>
      </p:sp>
      <p:sp>
        <p:nvSpPr>
          <p:cNvPr id="9" name="Text Placeholder 2" descr="Quote Attribution Area">
            <a:extLst>
              <a:ext uri="{FF2B5EF4-FFF2-40B4-BE49-F238E27FC236}">
                <a16:creationId xmlns:a16="http://schemas.microsoft.com/office/drawing/2014/main" id="{87775FA6-7D88-D54D-B3A1-64562B561A4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446276" y="5689158"/>
            <a:ext cx="9299448" cy="401247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Attribution</a:t>
            </a:r>
          </a:p>
        </p:txBody>
      </p:sp>
    </p:spTree>
    <p:extLst>
      <p:ext uri="{BB962C8B-B14F-4D97-AF65-F5344CB8AC3E}">
        <p14:creationId xmlns:p14="http://schemas.microsoft.com/office/powerpoint/2010/main" val="267676965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2_Closing P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75F2FDA-77E8-4521-CEB7-4DA893504E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414"/>
            <a:ext cx="12192000" cy="6857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33052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23EC3B2-3C94-AB43-BABA-3E7F81EC800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298DF834-1537-1F54-A28F-EA9545DFFB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572982" y="5341920"/>
            <a:ext cx="4857094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 b="1">
              <a:solidFill>
                <a:schemeClr val="bg1"/>
              </a:solidFill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E95A90C7-2102-D000-11EA-2F7B7F49B1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588656" y="5341920"/>
            <a:ext cx="1544231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 b="1">
              <a:solidFill>
                <a:schemeClr val="bg1"/>
              </a:solidFill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CF5C4307-9759-EC59-FE07-27DF461E42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572981" y="1399680"/>
            <a:ext cx="6559905" cy="7489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 b="1">
              <a:solidFill>
                <a:schemeClr val="bg1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0082E43E-A4C7-9D74-A7EC-D23FD81BFE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577939" y="5341920"/>
            <a:ext cx="1544231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 b="1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34C6B7B9-21BB-6DA8-FD82-F5163FD66CE0}"/>
              </a:ext>
            </a:extLst>
          </p:cNvPr>
          <p:cNvSpPr/>
          <p:nvPr userDrawn="1"/>
        </p:nvSpPr>
        <p:spPr>
          <a:xfrm>
            <a:off x="1572981" y="872702"/>
            <a:ext cx="6559905" cy="461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000" b="1">
                <a:solidFill>
                  <a:schemeClr val="accent1"/>
                </a:solidFill>
              </a:rPr>
              <a:t>Primary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BEEB9DC7-FF39-340B-7BE3-D015BA736010}"/>
              </a:ext>
            </a:extLst>
          </p:cNvPr>
          <p:cNvSpPr/>
          <p:nvPr userDrawn="1"/>
        </p:nvSpPr>
        <p:spPr>
          <a:xfrm>
            <a:off x="1572981" y="5378162"/>
            <a:ext cx="4857094" cy="461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000" b="1">
                <a:solidFill>
                  <a:schemeClr val="accent1"/>
                </a:solidFill>
              </a:rPr>
              <a:t>Secondary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051EC044-2FAE-AA81-536B-E520ACF3E290}"/>
              </a:ext>
            </a:extLst>
          </p:cNvPr>
          <p:cNvSpPr/>
          <p:nvPr userDrawn="1"/>
        </p:nvSpPr>
        <p:spPr>
          <a:xfrm>
            <a:off x="6561932" y="5378162"/>
            <a:ext cx="1544231" cy="461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000" b="1">
                <a:solidFill>
                  <a:schemeClr val="accent1"/>
                </a:solidFill>
              </a:rPr>
              <a:t>Highligh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E076F120-C1C6-47EB-DE47-2D356BD7E424}"/>
              </a:ext>
            </a:extLst>
          </p:cNvPr>
          <p:cNvSpPr/>
          <p:nvPr userDrawn="1"/>
        </p:nvSpPr>
        <p:spPr>
          <a:xfrm>
            <a:off x="8585338" y="5378162"/>
            <a:ext cx="1544231" cy="461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000" b="1">
                <a:solidFill>
                  <a:schemeClr val="accent1"/>
                </a:solidFill>
              </a:rPr>
              <a:t>Negative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07A61929-908B-BA67-0C23-EFF64AD617AE}"/>
              </a:ext>
            </a:extLst>
          </p:cNvPr>
          <p:cNvSpPr/>
          <p:nvPr userDrawn="1"/>
        </p:nvSpPr>
        <p:spPr>
          <a:xfrm>
            <a:off x="8578725" y="872702"/>
            <a:ext cx="1543445" cy="461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000" b="1">
                <a:solidFill>
                  <a:schemeClr val="accent1"/>
                </a:solidFill>
              </a:rPr>
              <a:t>Positive</a:t>
            </a: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59C3638D-8AC0-6487-6939-0B7BBA1510F7}"/>
              </a:ext>
            </a:extLst>
          </p:cNvPr>
          <p:cNvGrpSpPr/>
          <p:nvPr userDrawn="1"/>
        </p:nvGrpSpPr>
        <p:grpSpPr>
          <a:xfrm>
            <a:off x="1572981" y="1735627"/>
            <a:ext cx="1575487" cy="1506738"/>
            <a:chOff x="1572981" y="1562638"/>
            <a:chExt cx="1575487" cy="1506738"/>
          </a:xfrm>
        </p:grpSpPr>
        <p:grpSp>
          <p:nvGrpSpPr>
            <p:cNvPr id="4" name="Group 3" descr="Purple">
              <a:extLst>
                <a:ext uri="{FF2B5EF4-FFF2-40B4-BE49-F238E27FC236}">
                  <a16:creationId xmlns:a16="http://schemas.microsoft.com/office/drawing/2014/main" id="{3BCA94B1-3D12-1DD9-14BA-B00808B92B16}"/>
                </a:ext>
              </a:extLst>
            </p:cNvPr>
            <p:cNvGrpSpPr/>
            <p:nvPr userDrawn="1"/>
          </p:nvGrpSpPr>
          <p:grpSpPr>
            <a:xfrm>
              <a:off x="1572981" y="1562638"/>
              <a:ext cx="1575487" cy="1506738"/>
              <a:chOff x="244513" y="1467748"/>
              <a:chExt cx="1575487" cy="1506738"/>
            </a:xfrm>
          </p:grpSpPr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D5A48E67-3E59-5B2C-197E-0AA01EDE8140}"/>
                  </a:ext>
                </a:extLst>
              </p:cNvPr>
              <p:cNvSpPr/>
              <p:nvPr userDrawn="1"/>
            </p:nvSpPr>
            <p:spPr>
              <a:xfrm>
                <a:off x="244513" y="1467748"/>
                <a:ext cx="1544230" cy="150673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</a:endParaRPr>
              </a:p>
            </p:txBody>
          </p:sp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EA07F901-839A-6113-DA01-B87D18107372}"/>
                  </a:ext>
                </a:extLst>
              </p:cNvPr>
              <p:cNvSpPr/>
              <p:nvPr userDrawn="1"/>
            </p:nvSpPr>
            <p:spPr>
              <a:xfrm>
                <a:off x="244513" y="1467748"/>
                <a:ext cx="271337" cy="150673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</a:endParaRPr>
              </a:p>
            </p:txBody>
          </p:sp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3B3FD7E6-5C5F-07B0-CD4D-10368B46ADD6}"/>
                  </a:ext>
                </a:extLst>
              </p:cNvPr>
              <p:cNvSpPr/>
              <p:nvPr userDrawn="1"/>
            </p:nvSpPr>
            <p:spPr>
              <a:xfrm>
                <a:off x="547107" y="1702226"/>
                <a:ext cx="1272893" cy="109643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2000" b="1">
                    <a:solidFill>
                      <a:schemeClr val="accent1"/>
                    </a:solidFill>
                  </a:rPr>
                  <a:t>R:  </a:t>
                </a:r>
                <a:r>
                  <a:rPr lang="en-US" sz="2000">
                    <a:solidFill>
                      <a:schemeClr val="accent1"/>
                    </a:solidFill>
                  </a:rPr>
                  <a:t>48</a:t>
                </a:r>
                <a:endParaRPr lang="en-US" sz="2000" b="1">
                  <a:solidFill>
                    <a:schemeClr val="accent1"/>
                  </a:solidFill>
                </a:endParaRPr>
              </a:p>
              <a:p>
                <a:r>
                  <a:rPr lang="en-US" sz="2000" b="1">
                    <a:solidFill>
                      <a:schemeClr val="accent1"/>
                    </a:solidFill>
                  </a:rPr>
                  <a:t>G: </a:t>
                </a:r>
                <a:r>
                  <a:rPr lang="en-US" sz="2000">
                    <a:solidFill>
                      <a:schemeClr val="accent1"/>
                    </a:solidFill>
                  </a:rPr>
                  <a:t> 0</a:t>
                </a:r>
              </a:p>
              <a:p>
                <a:r>
                  <a:rPr lang="en-US" sz="2000" b="1">
                    <a:solidFill>
                      <a:schemeClr val="accent1"/>
                    </a:solidFill>
                  </a:rPr>
                  <a:t>B:  </a:t>
                </a:r>
                <a:r>
                  <a:rPr lang="en-US" sz="2000">
                    <a:solidFill>
                      <a:schemeClr val="accent1"/>
                    </a:solidFill>
                  </a:rPr>
                  <a:t>111</a:t>
                </a:r>
                <a:endParaRPr lang="en-GB" sz="2000">
                  <a:solidFill>
                    <a:schemeClr val="accent1"/>
                  </a:solidFill>
                </a:endParaRPr>
              </a:p>
            </p:txBody>
          </p:sp>
        </p:grp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93A8B846-CA14-108A-8158-9FC9DBD5183C}"/>
                </a:ext>
              </a:extLst>
            </p:cNvPr>
            <p:cNvSpPr txBox="1"/>
            <p:nvPr userDrawn="1"/>
          </p:nvSpPr>
          <p:spPr>
            <a:xfrm>
              <a:off x="1936466" y="2790776"/>
              <a:ext cx="1009117" cy="27400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r>
                <a:rPr lang="en-US" sz="1050">
                  <a:solidFill>
                    <a:schemeClr val="accent1"/>
                  </a:solidFill>
                </a:rPr>
                <a:t>HEX# 30006F</a:t>
              </a:r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8FEB95EE-0E83-5226-0EF8-700732641304}"/>
              </a:ext>
            </a:extLst>
          </p:cNvPr>
          <p:cNvGrpSpPr/>
          <p:nvPr userDrawn="1"/>
        </p:nvGrpSpPr>
        <p:grpSpPr>
          <a:xfrm>
            <a:off x="3243038" y="1735627"/>
            <a:ext cx="1575487" cy="1506738"/>
            <a:chOff x="3222996" y="1574087"/>
            <a:chExt cx="1575487" cy="1506738"/>
          </a:xfrm>
        </p:grpSpPr>
        <p:grpSp>
          <p:nvGrpSpPr>
            <p:cNvPr id="8" name="Group 7" descr="Lavendar">
              <a:extLst>
                <a:ext uri="{FF2B5EF4-FFF2-40B4-BE49-F238E27FC236}">
                  <a16:creationId xmlns:a16="http://schemas.microsoft.com/office/drawing/2014/main" id="{62AF1EA0-97E9-9439-53BE-CC4A1C2828E5}"/>
                </a:ext>
              </a:extLst>
            </p:cNvPr>
            <p:cNvGrpSpPr/>
            <p:nvPr userDrawn="1"/>
          </p:nvGrpSpPr>
          <p:grpSpPr>
            <a:xfrm>
              <a:off x="3222996" y="1574087"/>
              <a:ext cx="1575487" cy="1506738"/>
              <a:chOff x="2187613" y="1467748"/>
              <a:chExt cx="1575487" cy="1506738"/>
            </a:xfrm>
          </p:grpSpPr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0A740847-EED2-4A73-68CF-05539592ED8A}"/>
                  </a:ext>
                </a:extLst>
              </p:cNvPr>
              <p:cNvSpPr/>
              <p:nvPr userDrawn="1"/>
            </p:nvSpPr>
            <p:spPr>
              <a:xfrm>
                <a:off x="2187613" y="1467748"/>
                <a:ext cx="1544230" cy="150673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</a:endParaRPr>
              </a:p>
            </p:txBody>
          </p:sp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0C636634-1CD9-F563-3829-7519B5EE469A}"/>
                  </a:ext>
                </a:extLst>
              </p:cNvPr>
              <p:cNvSpPr/>
              <p:nvPr userDrawn="1"/>
            </p:nvSpPr>
            <p:spPr>
              <a:xfrm>
                <a:off x="2187613" y="1467748"/>
                <a:ext cx="271337" cy="1506738"/>
              </a:xfrm>
              <a:prstGeom prst="rect">
                <a:avLst/>
              </a:prstGeom>
              <a:solidFill>
                <a:srgbClr val="9579D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</a:endParaRP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CA1256A6-371E-E741-44E5-20EE37C29529}"/>
                  </a:ext>
                </a:extLst>
              </p:cNvPr>
              <p:cNvSpPr/>
              <p:nvPr userDrawn="1"/>
            </p:nvSpPr>
            <p:spPr>
              <a:xfrm>
                <a:off x="2490207" y="1702226"/>
                <a:ext cx="1272893" cy="109643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2000" b="1">
                    <a:solidFill>
                      <a:schemeClr val="accent2"/>
                    </a:solidFill>
                  </a:rPr>
                  <a:t>R: </a:t>
                </a:r>
                <a:r>
                  <a:rPr lang="en-US" sz="2000">
                    <a:solidFill>
                      <a:schemeClr val="accent2"/>
                    </a:solidFill>
                  </a:rPr>
                  <a:t>149</a:t>
                </a:r>
                <a:endParaRPr lang="en-US" sz="2000" b="1">
                  <a:solidFill>
                    <a:schemeClr val="accent2"/>
                  </a:solidFill>
                </a:endParaRPr>
              </a:p>
              <a:p>
                <a:r>
                  <a:rPr lang="en-US" sz="2000" b="1">
                    <a:solidFill>
                      <a:schemeClr val="accent2"/>
                    </a:solidFill>
                  </a:rPr>
                  <a:t>G: </a:t>
                </a:r>
                <a:r>
                  <a:rPr lang="en-US" sz="2000">
                    <a:solidFill>
                      <a:schemeClr val="accent2"/>
                    </a:solidFill>
                  </a:rPr>
                  <a:t>121</a:t>
                </a:r>
              </a:p>
              <a:p>
                <a:r>
                  <a:rPr lang="en-US" sz="2000" b="1">
                    <a:solidFill>
                      <a:schemeClr val="accent2"/>
                    </a:solidFill>
                  </a:rPr>
                  <a:t>B: </a:t>
                </a:r>
                <a:r>
                  <a:rPr lang="en-US" sz="2000">
                    <a:solidFill>
                      <a:schemeClr val="accent2"/>
                    </a:solidFill>
                  </a:rPr>
                  <a:t>211</a:t>
                </a:r>
                <a:endParaRPr lang="en-GB" sz="2000">
                  <a:solidFill>
                    <a:schemeClr val="accent2"/>
                  </a:solidFill>
                </a:endParaRPr>
              </a:p>
            </p:txBody>
          </p:sp>
        </p:grp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CA62D956-DD12-8B7A-118E-D19468728E91}"/>
                </a:ext>
              </a:extLst>
            </p:cNvPr>
            <p:cNvSpPr txBox="1"/>
            <p:nvPr userDrawn="1"/>
          </p:nvSpPr>
          <p:spPr>
            <a:xfrm>
              <a:off x="3595145" y="2790776"/>
              <a:ext cx="1009117" cy="27400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r>
                <a:rPr lang="en-US" sz="1050">
                  <a:solidFill>
                    <a:schemeClr val="accent2"/>
                  </a:solidFill>
                </a:rPr>
                <a:t>HEX# 9579D3</a:t>
              </a:r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ADD54BF3-0BA7-E159-CB9E-D7E1C38B44AD}"/>
              </a:ext>
            </a:extLst>
          </p:cNvPr>
          <p:cNvGrpSpPr/>
          <p:nvPr userDrawn="1"/>
        </p:nvGrpSpPr>
        <p:grpSpPr>
          <a:xfrm>
            <a:off x="4913095" y="1735627"/>
            <a:ext cx="1580992" cy="1506738"/>
            <a:chOff x="4885845" y="1562638"/>
            <a:chExt cx="1580992" cy="1506738"/>
          </a:xfrm>
        </p:grpSpPr>
        <p:grpSp>
          <p:nvGrpSpPr>
            <p:cNvPr id="12" name="Group 11" descr="Magenta">
              <a:extLst>
                <a:ext uri="{FF2B5EF4-FFF2-40B4-BE49-F238E27FC236}">
                  <a16:creationId xmlns:a16="http://schemas.microsoft.com/office/drawing/2014/main" id="{B932120A-BD9E-DD90-4723-2B423EB7FF8B}"/>
                </a:ext>
              </a:extLst>
            </p:cNvPr>
            <p:cNvGrpSpPr/>
            <p:nvPr userDrawn="1"/>
          </p:nvGrpSpPr>
          <p:grpSpPr>
            <a:xfrm>
              <a:off x="4885845" y="1562638"/>
              <a:ext cx="1580992" cy="1506738"/>
              <a:chOff x="4130713" y="1467748"/>
              <a:chExt cx="1580992" cy="1506738"/>
            </a:xfrm>
          </p:grpSpPr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A6263FBD-0802-7C16-0E0F-1DFFED34525F}"/>
                  </a:ext>
                </a:extLst>
              </p:cNvPr>
              <p:cNvSpPr/>
              <p:nvPr userDrawn="1"/>
            </p:nvSpPr>
            <p:spPr>
              <a:xfrm>
                <a:off x="4130713" y="1467748"/>
                <a:ext cx="1544230" cy="150673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</a:endParaRPr>
              </a:p>
            </p:txBody>
          </p: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E4A46543-9745-ACEA-609D-5A3A5B1E5079}"/>
                  </a:ext>
                </a:extLst>
              </p:cNvPr>
              <p:cNvSpPr/>
              <p:nvPr userDrawn="1"/>
            </p:nvSpPr>
            <p:spPr>
              <a:xfrm>
                <a:off x="4130713" y="1467748"/>
                <a:ext cx="271337" cy="1506738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</a:endParaRPr>
              </a:p>
            </p:txBody>
          </p:sp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7F3B89E0-495C-87F2-D39A-B040BBB77B7F}"/>
                  </a:ext>
                </a:extLst>
              </p:cNvPr>
              <p:cNvSpPr/>
              <p:nvPr userDrawn="1"/>
            </p:nvSpPr>
            <p:spPr>
              <a:xfrm>
                <a:off x="4438812" y="1702226"/>
                <a:ext cx="1272893" cy="109643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2000" b="1">
                    <a:solidFill>
                      <a:schemeClr val="accent3"/>
                    </a:solidFill>
                  </a:rPr>
                  <a:t>R: </a:t>
                </a:r>
                <a:r>
                  <a:rPr lang="en-US" sz="2000">
                    <a:solidFill>
                      <a:schemeClr val="accent3"/>
                    </a:solidFill>
                  </a:rPr>
                  <a:t>236</a:t>
                </a:r>
                <a:endParaRPr lang="en-US" sz="2000" b="1">
                  <a:solidFill>
                    <a:schemeClr val="accent3"/>
                  </a:solidFill>
                </a:endParaRPr>
              </a:p>
              <a:p>
                <a:r>
                  <a:rPr lang="en-US" sz="2000" b="1">
                    <a:solidFill>
                      <a:schemeClr val="accent3"/>
                    </a:solidFill>
                  </a:rPr>
                  <a:t>G: </a:t>
                </a:r>
                <a:r>
                  <a:rPr lang="en-US" sz="2000">
                    <a:solidFill>
                      <a:schemeClr val="accent3"/>
                    </a:solidFill>
                  </a:rPr>
                  <a:t>0</a:t>
                </a:r>
              </a:p>
              <a:p>
                <a:r>
                  <a:rPr lang="en-US" sz="2000" b="1">
                    <a:solidFill>
                      <a:schemeClr val="accent3"/>
                    </a:solidFill>
                  </a:rPr>
                  <a:t>B: </a:t>
                </a:r>
                <a:r>
                  <a:rPr lang="en-US" sz="2000">
                    <a:solidFill>
                      <a:schemeClr val="accent3"/>
                    </a:solidFill>
                  </a:rPr>
                  <a:t>140</a:t>
                </a:r>
                <a:endParaRPr lang="en-GB" sz="2000">
                  <a:solidFill>
                    <a:schemeClr val="accent3"/>
                  </a:solidFill>
                </a:endParaRPr>
              </a:p>
            </p:txBody>
          </p:sp>
        </p:grp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1023BC12-DED9-3703-402C-A76CF9987B3B}"/>
                </a:ext>
              </a:extLst>
            </p:cNvPr>
            <p:cNvSpPr txBox="1"/>
            <p:nvPr userDrawn="1"/>
          </p:nvSpPr>
          <p:spPr>
            <a:xfrm>
              <a:off x="5253824" y="2790776"/>
              <a:ext cx="1009117" cy="27400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r>
                <a:rPr lang="en-US" sz="1050">
                  <a:solidFill>
                    <a:schemeClr val="accent3"/>
                  </a:solidFill>
                </a:rPr>
                <a:t>HEX# EC008C</a:t>
              </a: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919D6FBF-9A93-8E8B-CAF7-4A980AD64660}"/>
              </a:ext>
            </a:extLst>
          </p:cNvPr>
          <p:cNvGrpSpPr/>
          <p:nvPr userDrawn="1"/>
        </p:nvGrpSpPr>
        <p:grpSpPr>
          <a:xfrm>
            <a:off x="6588656" y="1735627"/>
            <a:ext cx="1575487" cy="1506738"/>
            <a:chOff x="6588656" y="1569541"/>
            <a:chExt cx="1575487" cy="1506738"/>
          </a:xfrm>
        </p:grpSpPr>
        <p:grpSp>
          <p:nvGrpSpPr>
            <p:cNvPr id="16" name="Group 15" descr="Blue">
              <a:extLst>
                <a:ext uri="{FF2B5EF4-FFF2-40B4-BE49-F238E27FC236}">
                  <a16:creationId xmlns:a16="http://schemas.microsoft.com/office/drawing/2014/main" id="{8551128D-5505-62B1-1E65-37269D348530}"/>
                </a:ext>
              </a:extLst>
            </p:cNvPr>
            <p:cNvGrpSpPr/>
            <p:nvPr userDrawn="1"/>
          </p:nvGrpSpPr>
          <p:grpSpPr>
            <a:xfrm>
              <a:off x="6588656" y="1569541"/>
              <a:ext cx="1575487" cy="1506738"/>
              <a:chOff x="6073813" y="1467748"/>
              <a:chExt cx="1575487" cy="1506738"/>
            </a:xfrm>
          </p:grpSpPr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F47A3C5B-3225-7755-05BB-39800C2107B7}"/>
                  </a:ext>
                </a:extLst>
              </p:cNvPr>
              <p:cNvSpPr/>
              <p:nvPr userDrawn="1"/>
            </p:nvSpPr>
            <p:spPr>
              <a:xfrm>
                <a:off x="6073813" y="1467748"/>
                <a:ext cx="1544230" cy="150673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</a:endParaRPr>
              </a:p>
            </p:txBody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09239DD9-3279-2B9F-DE91-AB0FCA1939CD}"/>
                  </a:ext>
                </a:extLst>
              </p:cNvPr>
              <p:cNvSpPr/>
              <p:nvPr userDrawn="1"/>
            </p:nvSpPr>
            <p:spPr>
              <a:xfrm>
                <a:off x="6073813" y="1467748"/>
                <a:ext cx="271337" cy="150673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277C8D61-F824-3518-C99E-12FF8E1A4339}"/>
                  </a:ext>
                </a:extLst>
              </p:cNvPr>
              <p:cNvSpPr/>
              <p:nvPr userDrawn="1"/>
            </p:nvSpPr>
            <p:spPr>
              <a:xfrm>
                <a:off x="6376407" y="1702226"/>
                <a:ext cx="1272893" cy="109643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2000" b="1" dirty="0">
                    <a:solidFill>
                      <a:schemeClr val="accent4"/>
                    </a:solidFill>
                  </a:rPr>
                  <a:t>R: </a:t>
                </a:r>
                <a:r>
                  <a:rPr lang="en-US" sz="2000" dirty="0">
                    <a:solidFill>
                      <a:schemeClr val="accent4"/>
                    </a:solidFill>
                  </a:rPr>
                  <a:t>0</a:t>
                </a:r>
                <a:endParaRPr lang="en-US" sz="2000" b="1" dirty="0">
                  <a:solidFill>
                    <a:schemeClr val="accent4"/>
                  </a:solidFill>
                </a:endParaRPr>
              </a:p>
              <a:p>
                <a:r>
                  <a:rPr lang="en-US" sz="2000" b="1" dirty="0">
                    <a:solidFill>
                      <a:schemeClr val="accent4"/>
                    </a:solidFill>
                  </a:rPr>
                  <a:t>G: </a:t>
                </a:r>
                <a:r>
                  <a:rPr lang="en-US" sz="2000" dirty="0">
                    <a:solidFill>
                      <a:schemeClr val="accent4"/>
                    </a:solidFill>
                  </a:rPr>
                  <a:t>174</a:t>
                </a:r>
              </a:p>
              <a:p>
                <a:r>
                  <a:rPr lang="en-US" sz="2000" b="1" dirty="0">
                    <a:solidFill>
                      <a:schemeClr val="accent4"/>
                    </a:solidFill>
                  </a:rPr>
                  <a:t>B: </a:t>
                </a:r>
                <a:r>
                  <a:rPr lang="en-US" sz="2000" dirty="0">
                    <a:solidFill>
                      <a:schemeClr val="accent4"/>
                    </a:solidFill>
                  </a:rPr>
                  <a:t>239</a:t>
                </a:r>
                <a:endParaRPr lang="en-GB" sz="2000" dirty="0">
                  <a:solidFill>
                    <a:schemeClr val="accent4"/>
                  </a:solidFill>
                </a:endParaRPr>
              </a:p>
            </p:txBody>
          </p:sp>
        </p:grp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47EBC304-9EE8-FCB6-9904-6FD299CF18B8}"/>
                </a:ext>
              </a:extLst>
            </p:cNvPr>
            <p:cNvSpPr txBox="1"/>
            <p:nvPr userDrawn="1"/>
          </p:nvSpPr>
          <p:spPr>
            <a:xfrm>
              <a:off x="6955034" y="2790776"/>
              <a:ext cx="1009117" cy="27400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r>
                <a:rPr lang="en-US" sz="1050" dirty="0">
                  <a:solidFill>
                    <a:schemeClr val="accent4"/>
                  </a:solidFill>
                </a:rPr>
                <a:t>HEX# 00AEEF</a:t>
              </a:r>
            </a:p>
          </p:txBody>
        </p:sp>
      </p:grpSp>
      <p:sp>
        <p:nvSpPr>
          <p:cNvPr id="48" name="Rectangle 47">
            <a:extLst>
              <a:ext uri="{FF2B5EF4-FFF2-40B4-BE49-F238E27FC236}">
                <a16:creationId xmlns:a16="http://schemas.microsoft.com/office/drawing/2014/main" id="{D27F5B94-965F-3F70-8BAA-FD9FE22E30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577940" y="1401027"/>
            <a:ext cx="1527906" cy="7354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 b="1">
              <a:solidFill>
                <a:schemeClr val="bg1"/>
              </a:solidFill>
            </a:endParaRP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B91E51FE-AE16-847F-9AA0-B76BDC526015}"/>
              </a:ext>
            </a:extLst>
          </p:cNvPr>
          <p:cNvGrpSpPr/>
          <p:nvPr userDrawn="1"/>
        </p:nvGrpSpPr>
        <p:grpSpPr>
          <a:xfrm>
            <a:off x="8577940" y="1735627"/>
            <a:ext cx="1575487" cy="1506738"/>
            <a:chOff x="8577940" y="1562638"/>
            <a:chExt cx="1575487" cy="1506738"/>
          </a:xfrm>
        </p:grpSpPr>
        <p:grpSp>
          <p:nvGrpSpPr>
            <p:cNvPr id="36" name="Group 35" descr="Green">
              <a:extLst>
                <a:ext uri="{FF2B5EF4-FFF2-40B4-BE49-F238E27FC236}">
                  <a16:creationId xmlns:a16="http://schemas.microsoft.com/office/drawing/2014/main" id="{E0275AA6-861E-6F54-2AF7-5B045669FC51}"/>
                </a:ext>
              </a:extLst>
            </p:cNvPr>
            <p:cNvGrpSpPr/>
            <p:nvPr userDrawn="1"/>
          </p:nvGrpSpPr>
          <p:grpSpPr>
            <a:xfrm>
              <a:off x="8577940" y="1562638"/>
              <a:ext cx="1575487" cy="1506738"/>
              <a:chOff x="8453785" y="1467748"/>
              <a:chExt cx="1575487" cy="1506738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3CD941C4-31ED-EDE0-850B-B76092F549A2}"/>
                  </a:ext>
                </a:extLst>
              </p:cNvPr>
              <p:cNvSpPr/>
              <p:nvPr userDrawn="1"/>
            </p:nvSpPr>
            <p:spPr>
              <a:xfrm>
                <a:off x="8453785" y="1467748"/>
                <a:ext cx="1544230" cy="150673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</a:endParaRP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45F50C0B-2CE3-83C2-1ADB-4A9FE8C080E9}"/>
                  </a:ext>
                </a:extLst>
              </p:cNvPr>
              <p:cNvSpPr/>
              <p:nvPr userDrawn="1"/>
            </p:nvSpPr>
            <p:spPr>
              <a:xfrm>
                <a:off x="8453785" y="1467748"/>
                <a:ext cx="271337" cy="1506738"/>
              </a:xfrm>
              <a:prstGeom prst="rect">
                <a:avLst/>
              </a:prstGeom>
              <a:solidFill>
                <a:srgbClr val="00B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</a:endParaRP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BF978E1A-8553-A3DE-AC92-94F633106B00}"/>
                  </a:ext>
                </a:extLst>
              </p:cNvPr>
              <p:cNvSpPr/>
              <p:nvPr userDrawn="1"/>
            </p:nvSpPr>
            <p:spPr>
              <a:xfrm>
                <a:off x="8756379" y="1702226"/>
                <a:ext cx="1272893" cy="109643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2000" b="1" dirty="0">
                    <a:solidFill>
                      <a:srgbClr val="00B050"/>
                    </a:solidFill>
                  </a:rPr>
                  <a:t>R: </a:t>
                </a:r>
                <a:r>
                  <a:rPr lang="en-US" sz="2000" dirty="0">
                    <a:solidFill>
                      <a:srgbClr val="00B050"/>
                    </a:solidFill>
                  </a:rPr>
                  <a:t> 0</a:t>
                </a:r>
                <a:endParaRPr lang="en-US" sz="2000" b="1" dirty="0">
                  <a:solidFill>
                    <a:srgbClr val="00B050"/>
                  </a:solidFill>
                </a:endParaRPr>
              </a:p>
              <a:p>
                <a:r>
                  <a:rPr lang="en-US" sz="2000" b="1" dirty="0">
                    <a:solidFill>
                      <a:srgbClr val="00B050"/>
                    </a:solidFill>
                  </a:rPr>
                  <a:t>G:  </a:t>
                </a:r>
                <a:r>
                  <a:rPr lang="en-US" sz="2000" dirty="0">
                    <a:solidFill>
                      <a:srgbClr val="00B050"/>
                    </a:solidFill>
                  </a:rPr>
                  <a:t>176</a:t>
                </a:r>
              </a:p>
              <a:p>
                <a:r>
                  <a:rPr lang="en-US" sz="2000" b="1" dirty="0">
                    <a:solidFill>
                      <a:srgbClr val="00B050"/>
                    </a:solidFill>
                  </a:rPr>
                  <a:t>B: </a:t>
                </a:r>
                <a:r>
                  <a:rPr lang="en-US" sz="2000" dirty="0">
                    <a:solidFill>
                      <a:srgbClr val="00B050"/>
                    </a:solidFill>
                  </a:rPr>
                  <a:t> 80</a:t>
                </a:r>
                <a:endParaRPr lang="en-GB" sz="2000" dirty="0">
                  <a:solidFill>
                    <a:srgbClr val="00B050"/>
                  </a:solidFill>
                </a:endParaRPr>
              </a:p>
            </p:txBody>
          </p:sp>
        </p:grp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61CDAC73-F97F-3ECF-5D70-294808DBD155}"/>
                </a:ext>
              </a:extLst>
            </p:cNvPr>
            <p:cNvSpPr txBox="1"/>
            <p:nvPr userDrawn="1"/>
          </p:nvSpPr>
          <p:spPr>
            <a:xfrm>
              <a:off x="8953955" y="2790776"/>
              <a:ext cx="1009117" cy="27400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r>
                <a:rPr lang="en-US" sz="1050" dirty="0">
                  <a:solidFill>
                    <a:srgbClr val="00B050"/>
                  </a:solidFill>
                </a:rPr>
                <a:t>HEX# 00B050</a:t>
              </a:r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20F5788B-B05D-AF87-3BB2-48079E21FF30}"/>
              </a:ext>
            </a:extLst>
          </p:cNvPr>
          <p:cNvGrpSpPr/>
          <p:nvPr userDrawn="1"/>
        </p:nvGrpSpPr>
        <p:grpSpPr>
          <a:xfrm>
            <a:off x="1572981" y="3505738"/>
            <a:ext cx="1575487" cy="1526063"/>
            <a:chOff x="1572981" y="3505738"/>
            <a:chExt cx="1575487" cy="1526063"/>
          </a:xfrm>
        </p:grpSpPr>
        <p:grpSp>
          <p:nvGrpSpPr>
            <p:cNvPr id="20" name="Group 19" descr="Orange 1">
              <a:extLst>
                <a:ext uri="{FF2B5EF4-FFF2-40B4-BE49-F238E27FC236}">
                  <a16:creationId xmlns:a16="http://schemas.microsoft.com/office/drawing/2014/main" id="{B1C97F3A-1E9C-625D-C2A5-38EF5CDA52DD}"/>
                </a:ext>
              </a:extLst>
            </p:cNvPr>
            <p:cNvGrpSpPr/>
            <p:nvPr userDrawn="1"/>
          </p:nvGrpSpPr>
          <p:grpSpPr>
            <a:xfrm>
              <a:off x="1572981" y="3505738"/>
              <a:ext cx="1575487" cy="1506738"/>
              <a:chOff x="244513" y="3410848"/>
              <a:chExt cx="1575487" cy="1506738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9AA92976-854E-4E53-53D6-5BF4D008D419}"/>
                  </a:ext>
                </a:extLst>
              </p:cNvPr>
              <p:cNvSpPr/>
              <p:nvPr userDrawn="1"/>
            </p:nvSpPr>
            <p:spPr>
              <a:xfrm>
                <a:off x="244513" y="3410848"/>
                <a:ext cx="1544230" cy="150673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</a:endParaRP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86568AA0-2D38-5A11-6C40-408010739B51}"/>
                  </a:ext>
                </a:extLst>
              </p:cNvPr>
              <p:cNvSpPr/>
              <p:nvPr userDrawn="1"/>
            </p:nvSpPr>
            <p:spPr>
              <a:xfrm>
                <a:off x="244513" y="3410848"/>
                <a:ext cx="271337" cy="1506738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</a:endParaRP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5725783F-7E57-C422-C133-573BB42440B2}"/>
                  </a:ext>
                </a:extLst>
              </p:cNvPr>
              <p:cNvSpPr/>
              <p:nvPr userDrawn="1"/>
            </p:nvSpPr>
            <p:spPr>
              <a:xfrm>
                <a:off x="547107" y="3645326"/>
                <a:ext cx="1272893" cy="109643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2000" b="1" dirty="0">
                    <a:solidFill>
                      <a:schemeClr val="tx2"/>
                    </a:solidFill>
                  </a:rPr>
                  <a:t>R: </a:t>
                </a:r>
                <a:r>
                  <a:rPr lang="en-US" sz="2000" dirty="0">
                    <a:solidFill>
                      <a:schemeClr val="tx2"/>
                    </a:solidFill>
                  </a:rPr>
                  <a:t>249</a:t>
                </a:r>
                <a:endParaRPr lang="en-US" sz="2000" b="1" dirty="0">
                  <a:solidFill>
                    <a:schemeClr val="tx2"/>
                  </a:solidFill>
                </a:endParaRPr>
              </a:p>
              <a:p>
                <a:r>
                  <a:rPr lang="en-US" sz="2000" b="1" dirty="0">
                    <a:solidFill>
                      <a:schemeClr val="tx2"/>
                    </a:solidFill>
                  </a:rPr>
                  <a:t>G: </a:t>
                </a:r>
                <a:r>
                  <a:rPr lang="en-US" sz="2000" dirty="0">
                    <a:solidFill>
                      <a:schemeClr val="tx2"/>
                    </a:solidFill>
                  </a:rPr>
                  <a:t>142</a:t>
                </a:r>
              </a:p>
              <a:p>
                <a:r>
                  <a:rPr lang="en-US" sz="2000" b="1" dirty="0">
                    <a:solidFill>
                      <a:schemeClr val="tx2"/>
                    </a:solidFill>
                  </a:rPr>
                  <a:t>B: </a:t>
                </a:r>
                <a:r>
                  <a:rPr lang="en-US" sz="2000" dirty="0">
                    <a:solidFill>
                      <a:schemeClr val="tx2"/>
                    </a:solidFill>
                  </a:rPr>
                  <a:t>43</a:t>
                </a:r>
                <a:endParaRPr lang="en-GB" sz="2000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381EDB96-AC4B-4E5E-F631-416E514B3F9B}"/>
                </a:ext>
              </a:extLst>
            </p:cNvPr>
            <p:cNvSpPr txBox="1"/>
            <p:nvPr userDrawn="1"/>
          </p:nvSpPr>
          <p:spPr>
            <a:xfrm>
              <a:off x="1936466" y="4757799"/>
              <a:ext cx="1009117" cy="27400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r>
                <a:rPr lang="en-US" sz="1050" dirty="0">
                  <a:solidFill>
                    <a:srgbClr val="F98E2B"/>
                  </a:solidFill>
                </a:rPr>
                <a:t>HEX# F98E2B</a:t>
              </a: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EAA50A0D-490D-22B4-7FE0-4938D5797847}"/>
              </a:ext>
            </a:extLst>
          </p:cNvPr>
          <p:cNvGrpSpPr/>
          <p:nvPr userDrawn="1"/>
        </p:nvGrpSpPr>
        <p:grpSpPr>
          <a:xfrm>
            <a:off x="3244683" y="3505738"/>
            <a:ext cx="1575487" cy="1526063"/>
            <a:chOff x="3233867" y="3505738"/>
            <a:chExt cx="1575487" cy="1526063"/>
          </a:xfrm>
        </p:grpSpPr>
        <p:grpSp>
          <p:nvGrpSpPr>
            <p:cNvPr id="24" name="Group 23" descr="Teal">
              <a:extLst>
                <a:ext uri="{FF2B5EF4-FFF2-40B4-BE49-F238E27FC236}">
                  <a16:creationId xmlns:a16="http://schemas.microsoft.com/office/drawing/2014/main" id="{E842476B-F9C2-870C-09F7-2413207DE2F8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GrpSpPr/>
            <p:nvPr userDrawn="1"/>
          </p:nvGrpSpPr>
          <p:grpSpPr>
            <a:xfrm>
              <a:off x="3233867" y="3505738"/>
              <a:ext cx="1575487" cy="1506738"/>
              <a:chOff x="2187613" y="3410848"/>
              <a:chExt cx="1575487" cy="1506738"/>
            </a:xfrm>
          </p:grpSpPr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E6648D33-988A-521C-4D2C-A6D68333ACD2}"/>
                  </a:ext>
                </a:extLst>
              </p:cNvPr>
              <p:cNvSpPr/>
              <p:nvPr userDrawn="1"/>
            </p:nvSpPr>
            <p:spPr>
              <a:xfrm>
                <a:off x="2187613" y="3410848"/>
                <a:ext cx="1544230" cy="150673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</a:endParaRP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9FE7BEA2-4982-C5FE-9D97-91739B758EE2}"/>
                  </a:ext>
                </a:extLst>
              </p:cNvPr>
              <p:cNvSpPr/>
              <p:nvPr userDrawn="1"/>
            </p:nvSpPr>
            <p:spPr>
              <a:xfrm>
                <a:off x="2187613" y="3410848"/>
                <a:ext cx="271337" cy="1506738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</a:endParaRP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1F7F964B-7036-90FC-3A55-3A0C6D5D75B5}"/>
                  </a:ext>
                </a:extLst>
              </p:cNvPr>
              <p:cNvSpPr/>
              <p:nvPr userDrawn="1"/>
            </p:nvSpPr>
            <p:spPr>
              <a:xfrm>
                <a:off x="2490207" y="3645326"/>
                <a:ext cx="1272893" cy="109643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2000" b="1" dirty="0">
                    <a:solidFill>
                      <a:schemeClr val="accent6"/>
                    </a:solidFill>
                  </a:rPr>
                  <a:t>R: </a:t>
                </a:r>
                <a:r>
                  <a:rPr lang="en-US" sz="2000" dirty="0">
                    <a:solidFill>
                      <a:schemeClr val="accent6"/>
                    </a:solidFill>
                  </a:rPr>
                  <a:t>19</a:t>
                </a:r>
                <a:endParaRPr lang="en-US" sz="2000" b="1" dirty="0">
                  <a:solidFill>
                    <a:schemeClr val="accent6"/>
                  </a:solidFill>
                </a:endParaRPr>
              </a:p>
              <a:p>
                <a:r>
                  <a:rPr lang="en-US" sz="2000" b="1" dirty="0">
                    <a:solidFill>
                      <a:schemeClr val="accent6"/>
                    </a:solidFill>
                  </a:rPr>
                  <a:t>G: 208</a:t>
                </a:r>
                <a:endParaRPr lang="en-US" sz="2000" dirty="0">
                  <a:solidFill>
                    <a:schemeClr val="accent6"/>
                  </a:solidFill>
                </a:endParaRPr>
              </a:p>
              <a:p>
                <a:r>
                  <a:rPr lang="en-US" sz="2000" b="1" dirty="0">
                    <a:solidFill>
                      <a:schemeClr val="accent6"/>
                    </a:solidFill>
                  </a:rPr>
                  <a:t>B: 202</a:t>
                </a:r>
                <a:endParaRPr lang="en-GB" sz="2000" dirty="0">
                  <a:solidFill>
                    <a:schemeClr val="accent6"/>
                  </a:solidFill>
                </a:endParaRPr>
              </a:p>
            </p:txBody>
          </p:sp>
        </p:grp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96A16C8D-9AF8-1D3E-D240-A707B765CA48}"/>
                </a:ext>
              </a:extLst>
            </p:cNvPr>
            <p:cNvSpPr txBox="1"/>
            <p:nvPr userDrawn="1"/>
          </p:nvSpPr>
          <p:spPr>
            <a:xfrm>
              <a:off x="3595145" y="4757799"/>
              <a:ext cx="1009117" cy="27400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r>
                <a:rPr lang="en-US" sz="1050" dirty="0">
                  <a:solidFill>
                    <a:schemeClr val="accent6"/>
                  </a:solidFill>
                </a:rPr>
                <a:t>HEX# 13D0CA</a:t>
              </a:r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F421AFFE-3967-D1F1-5F63-BD66AB4F3BE3}"/>
              </a:ext>
            </a:extLst>
          </p:cNvPr>
          <p:cNvGrpSpPr/>
          <p:nvPr userDrawn="1"/>
        </p:nvGrpSpPr>
        <p:grpSpPr>
          <a:xfrm>
            <a:off x="4916385" y="3508619"/>
            <a:ext cx="1576056" cy="1520301"/>
            <a:chOff x="4889027" y="3511500"/>
            <a:chExt cx="1576056" cy="1520301"/>
          </a:xfrm>
        </p:grpSpPr>
        <p:grpSp>
          <p:nvGrpSpPr>
            <p:cNvPr id="28" name="Group 27" descr="Lime Green">
              <a:extLst>
                <a:ext uri="{FF2B5EF4-FFF2-40B4-BE49-F238E27FC236}">
                  <a16:creationId xmlns:a16="http://schemas.microsoft.com/office/drawing/2014/main" id="{A9AAA958-3998-D8AE-3CB2-90FB6C847E39}"/>
                </a:ext>
              </a:extLst>
            </p:cNvPr>
            <p:cNvGrpSpPr/>
            <p:nvPr userDrawn="1"/>
          </p:nvGrpSpPr>
          <p:grpSpPr>
            <a:xfrm>
              <a:off x="4889027" y="3511500"/>
              <a:ext cx="1576056" cy="1506738"/>
              <a:chOff x="4130713" y="3410848"/>
              <a:chExt cx="1576056" cy="1506738"/>
            </a:xfrm>
          </p:grpSpPr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3E8C02A4-AEA9-923F-D4FD-B778BFE18738}"/>
                  </a:ext>
                </a:extLst>
              </p:cNvPr>
              <p:cNvSpPr/>
              <p:nvPr userDrawn="1"/>
            </p:nvSpPr>
            <p:spPr>
              <a:xfrm>
                <a:off x="4130713" y="3410848"/>
                <a:ext cx="1544230" cy="150673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</a:endParaRP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0793D54C-540F-04FA-4310-F86C68F0B92E}"/>
                  </a:ext>
                </a:extLst>
              </p:cNvPr>
              <p:cNvSpPr/>
              <p:nvPr userDrawn="1"/>
            </p:nvSpPr>
            <p:spPr>
              <a:xfrm>
                <a:off x="4130713" y="3410848"/>
                <a:ext cx="271337" cy="150673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</a:endParaRP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C9A3215D-6F35-FFAB-3277-3E9F2BDC2BD0}"/>
                  </a:ext>
                </a:extLst>
              </p:cNvPr>
              <p:cNvSpPr/>
              <p:nvPr userDrawn="1"/>
            </p:nvSpPr>
            <p:spPr>
              <a:xfrm>
                <a:off x="4438812" y="3645326"/>
                <a:ext cx="1267957" cy="109643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2000" b="1">
                    <a:solidFill>
                      <a:schemeClr val="bg2"/>
                    </a:solidFill>
                  </a:rPr>
                  <a:t>R: </a:t>
                </a:r>
                <a:r>
                  <a:rPr lang="en-US" sz="2000">
                    <a:solidFill>
                      <a:schemeClr val="bg2"/>
                    </a:solidFill>
                  </a:rPr>
                  <a:t>163</a:t>
                </a:r>
                <a:endParaRPr lang="en-US" sz="2000" b="1">
                  <a:solidFill>
                    <a:schemeClr val="bg2"/>
                  </a:solidFill>
                </a:endParaRPr>
              </a:p>
              <a:p>
                <a:r>
                  <a:rPr lang="en-US" sz="2000" b="1">
                    <a:solidFill>
                      <a:schemeClr val="bg2"/>
                    </a:solidFill>
                  </a:rPr>
                  <a:t>G: </a:t>
                </a:r>
                <a:r>
                  <a:rPr lang="en-US" sz="2000">
                    <a:solidFill>
                      <a:schemeClr val="bg2"/>
                    </a:solidFill>
                  </a:rPr>
                  <a:t>213</a:t>
                </a:r>
              </a:p>
              <a:p>
                <a:r>
                  <a:rPr lang="en-US" sz="2000" b="1">
                    <a:solidFill>
                      <a:schemeClr val="bg2"/>
                    </a:solidFill>
                  </a:rPr>
                  <a:t>B:</a:t>
                </a:r>
                <a:r>
                  <a:rPr lang="en-US" sz="2000">
                    <a:solidFill>
                      <a:schemeClr val="bg2"/>
                    </a:solidFill>
                  </a:rPr>
                  <a:t> 95</a:t>
                </a:r>
                <a:endParaRPr lang="en-GB" sz="2000">
                  <a:solidFill>
                    <a:schemeClr val="bg2"/>
                  </a:solidFill>
                </a:endParaRPr>
              </a:p>
            </p:txBody>
          </p:sp>
        </p:grp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34D3D7DB-3ABB-B8F5-654B-62BA4995BEF1}"/>
                </a:ext>
              </a:extLst>
            </p:cNvPr>
            <p:cNvSpPr txBox="1"/>
            <p:nvPr userDrawn="1"/>
          </p:nvSpPr>
          <p:spPr>
            <a:xfrm>
              <a:off x="5253824" y="4757799"/>
              <a:ext cx="1009117" cy="27400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r>
                <a:rPr lang="en-US" sz="1050">
                  <a:solidFill>
                    <a:schemeClr val="bg2"/>
                  </a:solidFill>
                </a:rPr>
                <a:t>HEX# A3D55F</a:t>
              </a: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D84F28FE-B1C8-4205-0854-12FC23B12BB7}"/>
              </a:ext>
            </a:extLst>
          </p:cNvPr>
          <p:cNvGrpSpPr/>
          <p:nvPr userDrawn="1"/>
        </p:nvGrpSpPr>
        <p:grpSpPr>
          <a:xfrm>
            <a:off x="6588656" y="3508619"/>
            <a:ext cx="1575487" cy="1520301"/>
            <a:chOff x="6588656" y="3511500"/>
            <a:chExt cx="1575487" cy="1520301"/>
          </a:xfrm>
        </p:grpSpPr>
        <p:grpSp>
          <p:nvGrpSpPr>
            <p:cNvPr id="32" name="Group 31" descr="Orange 2">
              <a:extLst>
                <a:ext uri="{FF2B5EF4-FFF2-40B4-BE49-F238E27FC236}">
                  <a16:creationId xmlns:a16="http://schemas.microsoft.com/office/drawing/2014/main" id="{32C9E950-1E8C-4FE2-707F-5EE4F495F23A}"/>
                </a:ext>
              </a:extLst>
            </p:cNvPr>
            <p:cNvGrpSpPr/>
            <p:nvPr userDrawn="1"/>
          </p:nvGrpSpPr>
          <p:grpSpPr>
            <a:xfrm>
              <a:off x="6588656" y="3511500"/>
              <a:ext cx="1575487" cy="1506738"/>
              <a:chOff x="6073813" y="3410848"/>
              <a:chExt cx="1575487" cy="1506738"/>
            </a:xfrm>
          </p:grpSpPr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2E3FBDAD-86F2-DED9-5FBA-3BB7789B4748}"/>
                  </a:ext>
                </a:extLst>
              </p:cNvPr>
              <p:cNvSpPr/>
              <p:nvPr userDrawn="1"/>
            </p:nvSpPr>
            <p:spPr>
              <a:xfrm>
                <a:off x="6073813" y="3410848"/>
                <a:ext cx="1544230" cy="150673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</a:endParaRP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99442025-EC6B-9202-7501-CD7877026D1B}"/>
                  </a:ext>
                </a:extLst>
              </p:cNvPr>
              <p:cNvSpPr/>
              <p:nvPr userDrawn="1"/>
            </p:nvSpPr>
            <p:spPr>
              <a:xfrm>
                <a:off x="6073813" y="3410848"/>
                <a:ext cx="271337" cy="1506738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6F734C66-6C25-41BC-44C1-4C2B2BDB2EB7}"/>
                  </a:ext>
                </a:extLst>
              </p:cNvPr>
              <p:cNvSpPr/>
              <p:nvPr userDrawn="1"/>
            </p:nvSpPr>
            <p:spPr>
              <a:xfrm>
                <a:off x="6376407" y="3645326"/>
                <a:ext cx="1272893" cy="109643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2000" b="1" dirty="0">
                    <a:solidFill>
                      <a:schemeClr val="accent5"/>
                    </a:solidFill>
                  </a:rPr>
                  <a:t>R: </a:t>
                </a:r>
                <a:r>
                  <a:rPr lang="en-US" sz="2000" dirty="0">
                    <a:solidFill>
                      <a:schemeClr val="accent5"/>
                    </a:solidFill>
                  </a:rPr>
                  <a:t>236</a:t>
                </a:r>
                <a:endParaRPr lang="en-US" sz="2000" b="1" dirty="0">
                  <a:solidFill>
                    <a:schemeClr val="accent5"/>
                  </a:solidFill>
                </a:endParaRPr>
              </a:p>
              <a:p>
                <a:r>
                  <a:rPr lang="en-US" sz="2000" b="1" dirty="0">
                    <a:solidFill>
                      <a:schemeClr val="accent5"/>
                    </a:solidFill>
                  </a:rPr>
                  <a:t>G: </a:t>
                </a:r>
                <a:r>
                  <a:rPr lang="en-US" sz="2000" dirty="0">
                    <a:solidFill>
                      <a:schemeClr val="accent5"/>
                    </a:solidFill>
                  </a:rPr>
                  <a:t>232</a:t>
                </a:r>
              </a:p>
              <a:p>
                <a:r>
                  <a:rPr lang="en-US" sz="2000" b="1" dirty="0">
                    <a:solidFill>
                      <a:schemeClr val="accent5"/>
                    </a:solidFill>
                  </a:rPr>
                  <a:t>B: </a:t>
                </a:r>
                <a:r>
                  <a:rPr lang="en-US" sz="2000" dirty="0">
                    <a:solidFill>
                      <a:schemeClr val="accent5"/>
                    </a:solidFill>
                  </a:rPr>
                  <a:t>25</a:t>
                </a:r>
                <a:endParaRPr lang="en-GB" sz="2000" dirty="0">
                  <a:solidFill>
                    <a:schemeClr val="accent5"/>
                  </a:solidFill>
                </a:endParaRPr>
              </a:p>
            </p:txBody>
          </p:sp>
        </p:grp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EC730B10-4598-E506-CA62-CB59C4913B33}"/>
                </a:ext>
              </a:extLst>
            </p:cNvPr>
            <p:cNvSpPr txBox="1"/>
            <p:nvPr userDrawn="1"/>
          </p:nvSpPr>
          <p:spPr>
            <a:xfrm>
              <a:off x="6955034" y="4757799"/>
              <a:ext cx="1009117" cy="27400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r>
                <a:rPr lang="en-US" sz="1050" dirty="0">
                  <a:solidFill>
                    <a:schemeClr val="accent5"/>
                  </a:solidFill>
                </a:rPr>
                <a:t>HEX# ECE819</a:t>
              </a:r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E2290FDF-C8BE-8838-DD16-5C882AE20EA8}"/>
              </a:ext>
            </a:extLst>
          </p:cNvPr>
          <p:cNvGrpSpPr/>
          <p:nvPr userDrawn="1"/>
        </p:nvGrpSpPr>
        <p:grpSpPr>
          <a:xfrm>
            <a:off x="8578725" y="3505738"/>
            <a:ext cx="1575487" cy="1526063"/>
            <a:chOff x="8578725" y="3505738"/>
            <a:chExt cx="1575487" cy="1526063"/>
          </a:xfrm>
        </p:grpSpPr>
        <p:grpSp>
          <p:nvGrpSpPr>
            <p:cNvPr id="40" name="Group 39" descr="Red">
              <a:extLst>
                <a:ext uri="{FF2B5EF4-FFF2-40B4-BE49-F238E27FC236}">
                  <a16:creationId xmlns:a16="http://schemas.microsoft.com/office/drawing/2014/main" id="{310FDE6E-ECB1-5852-0526-5144B9BCF487}"/>
                </a:ext>
              </a:extLst>
            </p:cNvPr>
            <p:cNvGrpSpPr/>
            <p:nvPr userDrawn="1"/>
          </p:nvGrpSpPr>
          <p:grpSpPr>
            <a:xfrm>
              <a:off x="8578725" y="3505738"/>
              <a:ext cx="1575487" cy="1506738"/>
              <a:chOff x="8453785" y="3410848"/>
              <a:chExt cx="1575487" cy="1506738"/>
            </a:xfrm>
          </p:grpSpPr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966ED7EA-917E-AD87-C012-447802F954A8}"/>
                  </a:ext>
                </a:extLst>
              </p:cNvPr>
              <p:cNvSpPr/>
              <p:nvPr userDrawn="1"/>
            </p:nvSpPr>
            <p:spPr>
              <a:xfrm>
                <a:off x="8453785" y="3410848"/>
                <a:ext cx="1544230" cy="150673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</a:endParaRP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E47BD5B0-9971-D67C-E57E-FA8B5C4506FA}"/>
                  </a:ext>
                </a:extLst>
              </p:cNvPr>
              <p:cNvSpPr/>
              <p:nvPr userDrawn="1"/>
            </p:nvSpPr>
            <p:spPr>
              <a:xfrm>
                <a:off x="8453785" y="3410848"/>
                <a:ext cx="271337" cy="1506738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</a:endParaRP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DD9A61F5-F2CA-196C-C3B9-A90D4D7D47CC}"/>
                  </a:ext>
                </a:extLst>
              </p:cNvPr>
              <p:cNvSpPr/>
              <p:nvPr userDrawn="1"/>
            </p:nvSpPr>
            <p:spPr>
              <a:xfrm>
                <a:off x="8756379" y="3645326"/>
                <a:ext cx="1272893" cy="109643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2000" b="1">
                    <a:solidFill>
                      <a:srgbClr val="C00000"/>
                    </a:solidFill>
                  </a:rPr>
                  <a:t>R:  </a:t>
                </a:r>
                <a:r>
                  <a:rPr lang="en-US" sz="2000">
                    <a:solidFill>
                      <a:srgbClr val="C00000"/>
                    </a:solidFill>
                  </a:rPr>
                  <a:t>192</a:t>
                </a:r>
                <a:endParaRPr lang="en-US" sz="2000" b="1">
                  <a:solidFill>
                    <a:srgbClr val="C00000"/>
                  </a:solidFill>
                </a:endParaRPr>
              </a:p>
              <a:p>
                <a:r>
                  <a:rPr lang="en-US" sz="2000" b="1">
                    <a:solidFill>
                      <a:srgbClr val="C00000"/>
                    </a:solidFill>
                  </a:rPr>
                  <a:t>G:  </a:t>
                </a:r>
                <a:r>
                  <a:rPr lang="en-US" sz="2000">
                    <a:solidFill>
                      <a:srgbClr val="C00000"/>
                    </a:solidFill>
                  </a:rPr>
                  <a:t>0</a:t>
                </a:r>
              </a:p>
              <a:p>
                <a:r>
                  <a:rPr lang="en-US" sz="2000" b="1">
                    <a:solidFill>
                      <a:srgbClr val="C00000"/>
                    </a:solidFill>
                  </a:rPr>
                  <a:t>B:  </a:t>
                </a:r>
                <a:r>
                  <a:rPr lang="en-US" sz="2000">
                    <a:solidFill>
                      <a:srgbClr val="C00000"/>
                    </a:solidFill>
                  </a:rPr>
                  <a:t>0</a:t>
                </a:r>
                <a:endParaRPr lang="en-GB" sz="2000">
                  <a:solidFill>
                    <a:srgbClr val="C00000"/>
                  </a:solidFill>
                </a:endParaRPr>
              </a:p>
            </p:txBody>
          </p:sp>
        </p:grp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186ED5B6-AFB5-A00F-ADC9-7DC83A2C4105}"/>
                </a:ext>
              </a:extLst>
            </p:cNvPr>
            <p:cNvSpPr txBox="1"/>
            <p:nvPr userDrawn="1"/>
          </p:nvSpPr>
          <p:spPr>
            <a:xfrm>
              <a:off x="8953955" y="4757799"/>
              <a:ext cx="1009117" cy="27400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r>
                <a:rPr lang="en-US" sz="1050">
                  <a:solidFill>
                    <a:srgbClr val="C00000"/>
                  </a:solidFill>
                </a:rPr>
                <a:t>HEX# C0000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714666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 - Photographic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7F38E5B-CC5C-7002-2AA4-EAB7AE81942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10" y="1861"/>
            <a:ext cx="12185381" cy="6853450"/>
          </a:xfrm>
          <a:prstGeom prst="rect">
            <a:avLst/>
          </a:prstGeom>
        </p:spPr>
      </p:pic>
      <p:sp>
        <p:nvSpPr>
          <p:cNvPr id="6" name="Title 1" descr="Cover Slide Title Block">
            <a:extLst>
              <a:ext uri="{FF2B5EF4-FFF2-40B4-BE49-F238E27FC236}">
                <a16:creationId xmlns:a16="http://schemas.microsoft.com/office/drawing/2014/main" id="{A32F10DD-69C6-CE5B-2E2B-F9DEE6237E0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8725" y="568156"/>
            <a:ext cx="6355543" cy="1253627"/>
          </a:xfrm>
          <a:noFill/>
        </p:spPr>
        <p:txBody>
          <a:bodyPr anchor="b">
            <a:noAutofit/>
          </a:bodyPr>
          <a:lstStyle>
            <a:lvl1pPr algn="l">
              <a:lnSpc>
                <a:spcPct val="85000"/>
              </a:lnSpc>
              <a:defRPr sz="44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Title Block</a:t>
            </a:r>
            <a:endParaRPr lang="en-US" noProof="0" dirty="0"/>
          </a:p>
        </p:txBody>
      </p:sp>
      <p:sp>
        <p:nvSpPr>
          <p:cNvPr id="7" name="Subtitle 2" descr="Cover Slide Subtitle Block">
            <a:extLst>
              <a:ext uri="{FF2B5EF4-FFF2-40B4-BE49-F238E27FC236}">
                <a16:creationId xmlns:a16="http://schemas.microsoft.com/office/drawing/2014/main" id="{8F9EE65A-BFD4-13CB-9C40-DFF42657C9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725" y="2078542"/>
            <a:ext cx="6355543" cy="508228"/>
          </a:xfrm>
          <a:noFill/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accent2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384C9038-73F8-DF10-7549-13227FA7E02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8725" y="5818384"/>
            <a:ext cx="1620837" cy="487362"/>
          </a:xfrm>
        </p:spPr>
        <p:txBody>
          <a:bodyPr/>
          <a:lstStyle>
            <a:lvl1pPr marL="0" indent="0" algn="l">
              <a:buNone/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Insert date</a:t>
            </a:r>
          </a:p>
        </p:txBody>
      </p:sp>
    </p:spTree>
    <p:extLst>
      <p:ext uri="{BB962C8B-B14F-4D97-AF65-F5344CB8AC3E}">
        <p14:creationId xmlns:p14="http://schemas.microsoft.com/office/powerpoint/2010/main" val="17634355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Header Simple - Gra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AFC4AA0-48F6-22DB-BDF2-45F34C960A4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471" y="0"/>
            <a:ext cx="12193469" cy="6857999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F84DEB2-0A31-4C55-A2D4-69F9A75B20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92302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F84DEB2-0A31-4C55-A2D4-69F9A75B20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640A19-423A-45EA-A23F-21C8A699412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9" name="Title 1" descr="Title Block for Transition Slide with Photo #3">
            <a:extLst>
              <a:ext uri="{FF2B5EF4-FFF2-40B4-BE49-F238E27FC236}">
                <a16:creationId xmlns:a16="http://schemas.microsoft.com/office/drawing/2014/main" id="{3A24279E-A769-1892-6035-7D19626CD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628" y="2679576"/>
            <a:ext cx="4917335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dirty="0"/>
              <a:t>Simple Transition Slide</a:t>
            </a:r>
          </a:p>
        </p:txBody>
      </p:sp>
      <p:sp>
        <p:nvSpPr>
          <p:cNvPr id="10" name="Text Placeholder 2" descr="Subtitle Block for Transition Slide with Photo #3">
            <a:extLst>
              <a:ext uri="{FF2B5EF4-FFF2-40B4-BE49-F238E27FC236}">
                <a16:creationId xmlns:a16="http://schemas.microsoft.com/office/drawing/2014/main" id="{A758476E-A549-F6AE-A8D0-2FCEB7422C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0628" y="4020563"/>
            <a:ext cx="4917335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487280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Simpl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E01582B9-673D-D486-E5A0-53E92F31722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472" y="0"/>
            <a:ext cx="12193471" cy="6857999"/>
          </a:xfrm>
          <a:prstGeom prst="rect">
            <a:avLst/>
          </a:prstGeom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25ACF47-EB87-40E3-AE52-2A6D31B105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85363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25ACF47-EB87-40E3-AE52-2A6D31B105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B246EC0-8F8F-49E4-9EA1-A6272D13FFF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11" name="Title 1" descr="Title Block for Transition Slide with Photo #3">
            <a:extLst>
              <a:ext uri="{FF2B5EF4-FFF2-40B4-BE49-F238E27FC236}">
                <a16:creationId xmlns:a16="http://schemas.microsoft.com/office/drawing/2014/main" id="{49D59041-AFBC-7E5B-B269-5384A020F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628" y="2679576"/>
            <a:ext cx="4917335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dirty="0"/>
              <a:t>Simple Transition Slide</a:t>
            </a:r>
          </a:p>
        </p:txBody>
      </p:sp>
      <p:sp>
        <p:nvSpPr>
          <p:cNvPr id="12" name="Text Placeholder 2" descr="Subtitle Block for Transition Slide with Photo #3">
            <a:extLst>
              <a:ext uri="{FF2B5EF4-FFF2-40B4-BE49-F238E27FC236}">
                <a16:creationId xmlns:a16="http://schemas.microsoft.com/office/drawing/2014/main" id="{CF1E11F2-C716-1A0B-8EE4-37D444A64D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0628" y="4020563"/>
            <a:ext cx="4917335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791208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 Simple -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17F58EF-B982-9E7E-1DD7-C397820EBDD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471" y="0"/>
            <a:ext cx="12193469" cy="6857999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9A3E7D9-B718-4AFF-9113-2E8D87C0CE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5160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9A3E7D9-B718-4AFF-9113-2E8D87C0CE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1326B13-744E-40E6-B876-9381D128C34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9" name="Title 1" descr="Title Block for Transition Slide with Photo #3">
            <a:extLst>
              <a:ext uri="{FF2B5EF4-FFF2-40B4-BE49-F238E27FC236}">
                <a16:creationId xmlns:a16="http://schemas.microsoft.com/office/drawing/2014/main" id="{82B54384-AB29-7FEB-CAF7-DC14796529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628" y="2679576"/>
            <a:ext cx="4917335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Simple Transition Slide</a:t>
            </a:r>
          </a:p>
        </p:txBody>
      </p:sp>
      <p:sp>
        <p:nvSpPr>
          <p:cNvPr id="10" name="Text Placeholder 2" descr="Subtitle Block for Transition Slide with Photo #3">
            <a:extLst>
              <a:ext uri="{FF2B5EF4-FFF2-40B4-BE49-F238E27FC236}">
                <a16:creationId xmlns:a16="http://schemas.microsoft.com/office/drawing/2014/main" id="{82BC34EE-FF22-A0F2-5A2A-DB6646E2E8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0628" y="4020563"/>
            <a:ext cx="4917335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89134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Slid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E9512635-1EFB-BB92-9FB5-7DB1299EA2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472" y="0"/>
            <a:ext cx="12193471" cy="6857999"/>
          </a:xfrm>
          <a:prstGeom prst="rect">
            <a:avLst/>
          </a:prstGeom>
        </p:spPr>
      </p:pic>
      <p:sp>
        <p:nvSpPr>
          <p:cNvPr id="6" name="Title 1" descr="Title Block for Transition Slide with Photo #3">
            <a:extLst>
              <a:ext uri="{FF2B5EF4-FFF2-40B4-BE49-F238E27FC236}">
                <a16:creationId xmlns:a16="http://schemas.microsoft.com/office/drawing/2014/main" id="{15479701-FC2C-9E09-F959-2B8CE4ACC1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628" y="2679576"/>
            <a:ext cx="4917335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Simple Transition Slide</a:t>
            </a:r>
          </a:p>
        </p:txBody>
      </p:sp>
      <p:sp>
        <p:nvSpPr>
          <p:cNvPr id="8" name="Text Placeholder 2" descr="Subtitle Block for Transition Slide with Photo #3">
            <a:extLst>
              <a:ext uri="{FF2B5EF4-FFF2-40B4-BE49-F238E27FC236}">
                <a16:creationId xmlns:a16="http://schemas.microsoft.com/office/drawing/2014/main" id="{CD021792-47C6-240E-6EBD-156990E7E6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0628" y="4020563"/>
            <a:ext cx="4917335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878370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Slid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E9512635-1EFB-BB92-9FB5-7DB1299EA2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471" y="0"/>
            <a:ext cx="12193469" cy="6857999"/>
          </a:xfrm>
          <a:prstGeom prst="rect">
            <a:avLst/>
          </a:prstGeom>
        </p:spPr>
      </p:pic>
      <p:sp>
        <p:nvSpPr>
          <p:cNvPr id="6" name="Title 1" descr="Title Block for Transition Slide with Photo #3">
            <a:extLst>
              <a:ext uri="{FF2B5EF4-FFF2-40B4-BE49-F238E27FC236}">
                <a16:creationId xmlns:a16="http://schemas.microsoft.com/office/drawing/2014/main" id="{15479701-FC2C-9E09-F959-2B8CE4ACC1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628" y="2679576"/>
            <a:ext cx="4917335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Simple Transition Slide</a:t>
            </a:r>
          </a:p>
        </p:txBody>
      </p:sp>
      <p:sp>
        <p:nvSpPr>
          <p:cNvPr id="8" name="Text Placeholder 2" descr="Subtitle Block for Transition Slide with Photo #3">
            <a:extLst>
              <a:ext uri="{FF2B5EF4-FFF2-40B4-BE49-F238E27FC236}">
                <a16:creationId xmlns:a16="http://schemas.microsoft.com/office/drawing/2014/main" id="{CD021792-47C6-240E-6EBD-156990E7E6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0628" y="4020563"/>
            <a:ext cx="4917335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836508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38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EF12C74-AB2F-4CFB-BFAA-20C3A325B9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2420954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06" imgH="306" progId="TCLayout.ActiveDocument.1">
                  <p:embed/>
                </p:oleObj>
              </mc:Choice>
              <mc:Fallback>
                <p:oleObj name="think-cell Slide" r:id="rId36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EF12C74-AB2F-4CFB-BFAA-20C3A325B9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392B98E-190B-40F3-808A-1B89C606445C}"/>
              </a:ext>
            </a:extLst>
          </p:cNvPr>
          <p:cNvSpPr/>
          <p:nvPr userDrawn="1">
            <p:custDataLst>
              <p:tags r:id="rId3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8B3B38B-BBAD-CB4F-B082-D6F36EBDF9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478169"/>
            <a:ext cx="12192000" cy="38631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2F1B53D-38F5-0E4D-9B1B-7F47F0BA25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2938291" y="6564730"/>
            <a:ext cx="652774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 kern="1200" dirty="0">
                <a:solidFill>
                  <a:schemeClr val="bg1"/>
                </a:solidFill>
                <a:effectLst/>
                <a:latin typeface="Montserrat Light" pitchFamily="2" charset="77"/>
                <a:ea typeface="+mn-ea"/>
                <a:cs typeface="+mn-cs"/>
              </a:rPr>
              <a:t>© 2025 Cotiviti, Inc. All rights reserved. All proprietary information shall remain the sole and exclusive property of Cotiviti, Inc.</a:t>
            </a:r>
            <a:endParaRPr lang="en-US" sz="100" b="0" i="0" kern="1200" dirty="0">
              <a:solidFill>
                <a:schemeClr val="bg1"/>
              </a:solidFill>
              <a:effectLst/>
              <a:latin typeface="Montserrat Light" pitchFamily="2" charset="77"/>
              <a:ea typeface="+mn-ea"/>
              <a:cs typeface="+mn-cs"/>
            </a:endParaRPr>
          </a:p>
        </p:txBody>
      </p:sp>
      <p:sp>
        <p:nvSpPr>
          <p:cNvPr id="2" name="Title Placeholder 1" descr="Slide title"/>
          <p:cNvSpPr>
            <a:spLocks noGrp="1"/>
          </p:cNvSpPr>
          <p:nvPr>
            <p:ph type="title"/>
          </p:nvPr>
        </p:nvSpPr>
        <p:spPr>
          <a:xfrm>
            <a:off x="457200" y="365124"/>
            <a:ext cx="11274552" cy="78076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 descr="Slide main content area"/>
          <p:cNvSpPr>
            <a:spLocks noGrp="1"/>
          </p:cNvSpPr>
          <p:nvPr>
            <p:ph type="body" idx="1"/>
          </p:nvPr>
        </p:nvSpPr>
        <p:spPr>
          <a:xfrm>
            <a:off x="457200" y="1284789"/>
            <a:ext cx="11274552" cy="489204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tion Header</a:t>
            </a:r>
          </a:p>
          <a:p>
            <a:pPr marL="512763" marR="0" lvl="1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Bullet 1</a:t>
            </a:r>
          </a:p>
          <a:p>
            <a:pPr marL="741363" marR="0" lvl="2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Bullet 2</a:t>
            </a:r>
          </a:p>
          <a:p>
            <a:pPr marL="1033463" marR="0" lvl="3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Bullet 3</a:t>
            </a:r>
          </a:p>
          <a:p>
            <a:pPr marL="1316038" marR="0" lvl="4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Bullet 4</a:t>
            </a:r>
          </a:p>
        </p:txBody>
      </p:sp>
      <p:sp>
        <p:nvSpPr>
          <p:cNvPr id="6" name="Slide Number Placeholder 5" descr="Page Number"/>
          <p:cNvSpPr>
            <a:spLocks noGrp="1"/>
          </p:cNvSpPr>
          <p:nvPr>
            <p:ph type="sldNum" sz="quarter" idx="4"/>
          </p:nvPr>
        </p:nvSpPr>
        <p:spPr>
          <a:xfrm>
            <a:off x="11249892" y="6532981"/>
            <a:ext cx="484909" cy="27432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8BC64C03-9EC0-4B7E-8FE4-24DBF62E63E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A pink stripe on a black background&#10;&#10;Description automatically generated">
            <a:extLst>
              <a:ext uri="{FF2B5EF4-FFF2-40B4-BE49-F238E27FC236}">
                <a16:creationId xmlns:a16="http://schemas.microsoft.com/office/drawing/2014/main" id="{D900BA8A-B092-0E5C-E80A-6E38D01E9E6B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387" y="6588523"/>
            <a:ext cx="1242813" cy="146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94929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764" r:id="rId2"/>
    <p:sldLayoutId id="2147483765" r:id="rId3"/>
    <p:sldLayoutId id="2147483766" r:id="rId4"/>
    <p:sldLayoutId id="2147483706" r:id="rId5"/>
    <p:sldLayoutId id="2147483707" r:id="rId6"/>
    <p:sldLayoutId id="2147483705" r:id="rId7"/>
    <p:sldLayoutId id="2147483759" r:id="rId8"/>
    <p:sldLayoutId id="2147483761" r:id="rId9"/>
    <p:sldLayoutId id="2147483762" r:id="rId10"/>
    <p:sldLayoutId id="2147483760" r:id="rId11"/>
    <p:sldLayoutId id="2147483763" r:id="rId12"/>
    <p:sldLayoutId id="2147483767" r:id="rId13"/>
    <p:sldLayoutId id="2147483757" r:id="rId14"/>
    <p:sldLayoutId id="2147483675" r:id="rId15"/>
    <p:sldLayoutId id="2147483742" r:id="rId16"/>
    <p:sldLayoutId id="2147483679" r:id="rId17"/>
    <p:sldLayoutId id="2147483680" r:id="rId18"/>
    <p:sldLayoutId id="2147483681" r:id="rId19"/>
    <p:sldLayoutId id="2147483744" r:id="rId20"/>
    <p:sldLayoutId id="2147483745" r:id="rId21"/>
    <p:sldLayoutId id="2147483746" r:id="rId22"/>
    <p:sldLayoutId id="2147483747" r:id="rId23"/>
    <p:sldLayoutId id="2147483748" r:id="rId24"/>
    <p:sldLayoutId id="2147483711" r:id="rId25"/>
    <p:sldLayoutId id="2147483712" r:id="rId26"/>
    <p:sldLayoutId id="2147483743" r:id="rId27"/>
    <p:sldLayoutId id="2147483741" r:id="rId28"/>
    <p:sldLayoutId id="2147483727" r:id="rId29"/>
    <p:sldLayoutId id="2147483750" r:id="rId30"/>
    <p:sldLayoutId id="2147483749" r:id="rId31"/>
    <p:sldLayoutId id="2147483728" r:id="rId32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85750" marR="0" indent="-285750" algn="l" defTabSz="914400" rtl="0" eaLnBrk="1" fontAlgn="auto" latinLnBrk="0" hangingPunct="1">
        <a:lnSpc>
          <a:spcPct val="100000"/>
        </a:lnSpc>
        <a:spcBef>
          <a:spcPts val="1200"/>
        </a:spcBef>
        <a:spcAft>
          <a:spcPts val="300"/>
        </a:spcAft>
        <a:buClrTx/>
        <a:buSzTx/>
        <a:buFont typeface="Arial" panose="020B0604020202020204" pitchFamily="34" charset="0"/>
        <a:buChar char="•"/>
        <a:tabLst/>
        <a:defRPr lang="en-US" sz="1800" kern="1200" baseline="0" noProof="0" dirty="0" smtClean="0">
          <a:solidFill>
            <a:schemeClr val="accent1"/>
          </a:solidFill>
          <a:latin typeface="+mj-lt"/>
          <a:ea typeface="+mn-ea"/>
          <a:cs typeface="+mn-cs"/>
        </a:defRPr>
      </a:lvl1pPr>
      <a:lvl2pPr marL="512763" marR="0" indent="-228600" algn="l" defTabSz="9144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>
          <a:srgbClr val="EC008C"/>
        </a:buClr>
        <a:buSzTx/>
        <a:buFont typeface="Wingdings" panose="05000000000000000000" pitchFamily="2" charset="2"/>
        <a:buChar char="§"/>
        <a:tabLst/>
        <a:defRPr lang="en-US" sz="16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41363" marR="0" indent="-228600" algn="l" defTabSz="9144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>
          <a:srgbClr val="EC008C"/>
        </a:buClr>
        <a:buSzTx/>
        <a:buFont typeface="Courier New" panose="02070309020205020404" pitchFamily="49" charset="0"/>
        <a:buChar char="o"/>
        <a:tabLst/>
        <a:defRPr lang="en-US" sz="14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033463" marR="0" indent="-228600" algn="l" defTabSz="9144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>
          <a:srgbClr val="EC008C"/>
        </a:buClr>
        <a:buSzTx/>
        <a:buFont typeface="Arial" panose="020B0604020202020204" pitchFamily="34" charset="0"/>
        <a:buChar char="•"/>
        <a:tabLst/>
        <a:defRPr lang="en-US" sz="12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316038" marR="0" indent="-228600" algn="l" defTabSz="9144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>
          <a:srgbClr val="EC008C"/>
        </a:buClr>
        <a:buSzTx/>
        <a:buFont typeface="Montserrat" panose="00000500000000000000" pitchFamily="2" charset="0"/>
        <a:buChar char="–"/>
        <a:tabLst/>
        <a:defRPr lang="en-US" sz="1500" kern="1200" noProof="0" dirty="0">
          <a:solidFill>
            <a:schemeClr val="accent2"/>
          </a:solidFill>
          <a:latin typeface="+mn-lt"/>
          <a:ea typeface="+mn-ea"/>
          <a:cs typeface="+mn-cs"/>
        </a:defRPr>
      </a:lvl5pPr>
      <a:lvl6pPr marL="1490663" marR="0" indent="-173038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18.xml"/><Relationship Id="rId5" Type="http://schemas.openxmlformats.org/officeDocument/2006/relationships/chart" Target="../charts/chart9.xml"/><Relationship Id="rId4" Type="http://schemas.openxmlformats.org/officeDocument/2006/relationships/chart" Target="../charts/chart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8D23D0-F432-46AD-2DBD-FD745D14AA1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E&amp;M Analysi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DF913E5-740C-B9AD-B222-B4F0586C0B4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Descriptive Analysi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4AD07E7-5376-90AB-5766-0A961949958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09/09/2025</a:t>
            </a:r>
          </a:p>
        </p:txBody>
      </p:sp>
    </p:spTree>
    <p:extLst>
      <p:ext uri="{BB962C8B-B14F-4D97-AF65-F5344CB8AC3E}">
        <p14:creationId xmlns:p14="http://schemas.microsoft.com/office/powerpoint/2010/main" val="38967219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DC45A3-AD3F-BAC3-E11C-5520A3AE67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D54331CD-603D-4F32-9BE3-2F19C187E58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38894491"/>
              </p:ext>
            </p:extLst>
          </p:nvPr>
        </p:nvGraphicFramePr>
        <p:xfrm>
          <a:off x="684563" y="623371"/>
          <a:ext cx="10822873" cy="48169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5773428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DAE3BE-5EF9-7370-83DA-4CF917C658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128B4794-E609-4821-8CC9-EBE5B74EF88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20249404"/>
              </p:ext>
            </p:extLst>
          </p:nvPr>
        </p:nvGraphicFramePr>
        <p:xfrm>
          <a:off x="-142352" y="1261340"/>
          <a:ext cx="2684318" cy="2857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A9D11D72-D6C8-490E-8713-C18D1B648FA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82317565"/>
              </p:ext>
            </p:extLst>
          </p:nvPr>
        </p:nvGraphicFramePr>
        <p:xfrm>
          <a:off x="2541966" y="1192359"/>
          <a:ext cx="3216679" cy="2857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79D3D3A8-1A4D-4E0A-B12E-EB4EFFCB2D0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02613772"/>
              </p:ext>
            </p:extLst>
          </p:nvPr>
        </p:nvGraphicFramePr>
        <p:xfrm>
          <a:off x="5758644" y="1192359"/>
          <a:ext cx="3216678" cy="2857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7F83AD68-0A48-41B7-BC0E-A6FC38013CA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8307717"/>
              </p:ext>
            </p:extLst>
          </p:nvPr>
        </p:nvGraphicFramePr>
        <p:xfrm>
          <a:off x="8975322" y="1192359"/>
          <a:ext cx="3216678" cy="2857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67900597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314748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DF9BAA3-3A7D-4EF0-A2DF-DFAEF048879A}"/>
              </a:ext>
            </a:extLst>
          </p:cNvPr>
          <p:cNvSpPr/>
          <p:nvPr/>
        </p:nvSpPr>
        <p:spPr>
          <a:xfrm>
            <a:off x="0" y="1"/>
            <a:ext cx="2477193" cy="6477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F137E6B-0310-42FE-8BE9-AAEB687719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2</a:t>
            </a:fld>
            <a:endParaRPr lang="en-US"/>
          </a:p>
        </p:txBody>
      </p:sp>
      <p:graphicFrame>
        <p:nvGraphicFramePr>
          <p:cNvPr id="30" name="Agenda Table">
            <a:extLst>
              <a:ext uri="{FF2B5EF4-FFF2-40B4-BE49-F238E27FC236}">
                <a16:creationId xmlns:a16="http://schemas.microsoft.com/office/drawing/2014/main" id="{9951DCF4-7627-4B7C-8711-BB343F81B6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7887823"/>
              </p:ext>
            </p:extLst>
          </p:nvPr>
        </p:nvGraphicFramePr>
        <p:xfrm>
          <a:off x="457200" y="1221850"/>
          <a:ext cx="11274552" cy="46180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16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2628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769674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accent1"/>
                          </a:solidFill>
                          <a:latin typeface="+mj-lt"/>
                        </a:rPr>
                        <a:t>1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66688" marR="0" indent="0" algn="l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Welcome</a:t>
                      </a: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69674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accent1"/>
                          </a:solidFill>
                          <a:latin typeface="+mj-lt"/>
                        </a:rPr>
                        <a:t>2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66688" marR="0" indent="0" algn="l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dirty="0">
                          <a:solidFill>
                            <a:schemeClr val="accent1"/>
                          </a:solidFill>
                          <a:latin typeface="+mn-lt"/>
                        </a:rPr>
                        <a:t>TBD</a:t>
                      </a: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69674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accent1"/>
                          </a:solidFill>
                          <a:latin typeface="+mj-lt"/>
                        </a:rPr>
                        <a:t>3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66688" marR="0" indent="0" algn="l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BD</a:t>
                      </a:r>
                      <a:endParaRPr lang="en-US" sz="1800" b="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69674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accent1"/>
                          </a:solidFill>
                          <a:latin typeface="+mj-lt"/>
                        </a:rPr>
                        <a:t>4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66688" marR="0" indent="0" algn="l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BD</a:t>
                      </a:r>
                      <a:endParaRPr lang="en-US" sz="1800" b="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69674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accent1"/>
                          </a:solidFill>
                          <a:latin typeface="+mj-lt"/>
                        </a:rPr>
                        <a:t>5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66688" marR="0" indent="0" algn="l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BD</a:t>
                      </a:r>
                      <a:endParaRPr lang="en-US" sz="1800" b="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394149"/>
                  </a:ext>
                </a:extLst>
              </a:tr>
              <a:tr h="769674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accent1"/>
                          </a:solidFill>
                          <a:latin typeface="+mj-lt"/>
                        </a:rPr>
                        <a:t>6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66688" marR="0" indent="0" algn="l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dirty="0">
                          <a:solidFill>
                            <a:schemeClr val="accent1"/>
                          </a:solidFill>
                          <a:latin typeface="+mn-lt"/>
                        </a:rPr>
                        <a:t>Closing</a:t>
                      </a: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91204831"/>
                  </a:ext>
                </a:extLst>
              </a:tr>
            </a:tbl>
          </a:graphicData>
        </a:graphic>
      </p:graphicFrame>
      <p:sp>
        <p:nvSpPr>
          <p:cNvPr id="3" name="Title" descr="Agenda">
            <a:extLst>
              <a:ext uri="{FF2B5EF4-FFF2-40B4-BE49-F238E27FC236}">
                <a16:creationId xmlns:a16="http://schemas.microsoft.com/office/drawing/2014/main" id="{FB592D7D-D5AB-4CE1-A63E-D4914614C3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2093123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7441B1C-8F9B-0CD9-0711-4A0694EBFA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3</a:t>
            </a:fld>
            <a:endParaRPr lang="en-US"/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F642B7D7-8008-48B2-0BF5-CEA8E1364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4015" y="179752"/>
            <a:ext cx="5615673" cy="508000"/>
          </a:xfrm>
        </p:spPr>
        <p:txBody>
          <a:bodyPr/>
          <a:lstStyle/>
          <a:p>
            <a:r>
              <a:rPr lang="en-US" dirty="0"/>
              <a:t>Data Transformation </a:t>
            </a:r>
            <a:r>
              <a:rPr lang="en-US" sz="1800" dirty="0"/>
              <a:t>(Wide → Long)</a:t>
            </a:r>
            <a:endParaRPr lang="en-US" dirty="0"/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id="{DB8F2092-F685-7F2F-1A4B-04F5578C343B}"/>
              </a:ext>
            </a:extLst>
          </p:cNvPr>
          <p:cNvSpPr/>
          <p:nvPr/>
        </p:nvSpPr>
        <p:spPr>
          <a:xfrm rot="5400000">
            <a:off x="5852026" y="2776617"/>
            <a:ext cx="487943" cy="392004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AA2A9B24-331D-74AF-D797-18D98A0D2E52}"/>
              </a:ext>
            </a:extLst>
          </p:cNvPr>
          <p:cNvGrpSpPr/>
          <p:nvPr/>
        </p:nvGrpSpPr>
        <p:grpSpPr>
          <a:xfrm>
            <a:off x="-3" y="695808"/>
            <a:ext cx="12192003" cy="1857269"/>
            <a:chOff x="-3" y="695808"/>
            <a:chExt cx="12192003" cy="1857269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5154150F-705D-D9B5-2813-277ED57819F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95808"/>
              <a:ext cx="12192000" cy="1527456"/>
            </a:xfrm>
            <a:prstGeom prst="rect">
              <a:avLst/>
            </a:prstGeom>
          </p:spPr>
        </p:pic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47FAAF2F-5801-5AC0-C47F-F324F69EC0D9}"/>
                </a:ext>
              </a:extLst>
            </p:cNvPr>
            <p:cNvCxnSpPr/>
            <p:nvPr/>
          </p:nvCxnSpPr>
          <p:spPr>
            <a:xfrm>
              <a:off x="-3" y="2553077"/>
              <a:ext cx="12192000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7CCDA50A-4554-1322-6382-6D4AB1CDEC4F}"/>
                </a:ext>
              </a:extLst>
            </p:cNvPr>
            <p:cNvSpPr txBox="1"/>
            <p:nvPr/>
          </p:nvSpPr>
          <p:spPr>
            <a:xfrm>
              <a:off x="3473667" y="2223265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 dirty="0"/>
                <a:t>.</a:t>
              </a:r>
            </a:p>
            <a:p>
              <a:pPr algn="l"/>
              <a:r>
                <a:rPr lang="en-US" sz="600" b="1" dirty="0"/>
                <a:t>.</a:t>
              </a:r>
            </a:p>
            <a:p>
              <a:pPr algn="l"/>
              <a:r>
                <a:rPr lang="en-US" sz="600" b="1" dirty="0"/>
                <a:t>.</a:t>
              </a:r>
            </a:p>
            <a:p>
              <a:pPr algn="l"/>
              <a:endParaRPr lang="en-US" sz="600" b="1" dirty="0"/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5FD4B0EF-0DC7-8015-D93F-DD926324BC2C}"/>
                </a:ext>
              </a:extLst>
            </p:cNvPr>
            <p:cNvSpPr txBox="1"/>
            <p:nvPr/>
          </p:nvSpPr>
          <p:spPr>
            <a:xfrm>
              <a:off x="3914139" y="2223264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 dirty="0"/>
                <a:t>.</a:t>
              </a:r>
            </a:p>
            <a:p>
              <a:pPr algn="l"/>
              <a:r>
                <a:rPr lang="en-US" sz="600" b="1" dirty="0"/>
                <a:t>.</a:t>
              </a:r>
            </a:p>
            <a:p>
              <a:pPr algn="l"/>
              <a:r>
                <a:rPr lang="en-US" sz="600" b="1" dirty="0"/>
                <a:t>.</a:t>
              </a:r>
            </a:p>
            <a:p>
              <a:pPr algn="l"/>
              <a:endParaRPr lang="en-US" sz="600" b="1" dirty="0"/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C217CBBA-C2E4-734D-44BE-705046375BE2}"/>
                </a:ext>
              </a:extLst>
            </p:cNvPr>
            <p:cNvSpPr txBox="1"/>
            <p:nvPr/>
          </p:nvSpPr>
          <p:spPr>
            <a:xfrm>
              <a:off x="4354611" y="2212602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 dirty="0"/>
                <a:t>.</a:t>
              </a:r>
            </a:p>
            <a:p>
              <a:pPr algn="l"/>
              <a:r>
                <a:rPr lang="en-US" sz="600" b="1" dirty="0"/>
                <a:t>.</a:t>
              </a:r>
            </a:p>
            <a:p>
              <a:pPr algn="l"/>
              <a:r>
                <a:rPr lang="en-US" sz="600" b="1" dirty="0"/>
                <a:t>.</a:t>
              </a:r>
            </a:p>
            <a:p>
              <a:pPr algn="l"/>
              <a:endParaRPr lang="en-US" sz="600" b="1" dirty="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28AA212-CF62-C122-C334-D3754700063D}"/>
                </a:ext>
              </a:extLst>
            </p:cNvPr>
            <p:cNvSpPr txBox="1"/>
            <p:nvPr/>
          </p:nvSpPr>
          <p:spPr>
            <a:xfrm>
              <a:off x="4795083" y="2212602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 dirty="0"/>
                <a:t>.</a:t>
              </a:r>
            </a:p>
            <a:p>
              <a:pPr algn="l"/>
              <a:r>
                <a:rPr lang="en-US" sz="600" b="1" dirty="0"/>
                <a:t>.</a:t>
              </a:r>
            </a:p>
            <a:p>
              <a:pPr algn="l"/>
              <a:r>
                <a:rPr lang="en-US" sz="600" b="1" dirty="0"/>
                <a:t>.</a:t>
              </a:r>
            </a:p>
            <a:p>
              <a:pPr algn="l"/>
              <a:endParaRPr lang="en-US" sz="600" b="1" dirty="0"/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AA04571F-E036-0603-181B-88F41AAE129C}"/>
                </a:ext>
              </a:extLst>
            </p:cNvPr>
            <p:cNvSpPr txBox="1"/>
            <p:nvPr/>
          </p:nvSpPr>
          <p:spPr>
            <a:xfrm>
              <a:off x="5235555" y="2212602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 dirty="0"/>
                <a:t>.</a:t>
              </a:r>
            </a:p>
            <a:p>
              <a:pPr algn="l"/>
              <a:r>
                <a:rPr lang="en-US" sz="600" b="1" dirty="0"/>
                <a:t>.</a:t>
              </a:r>
            </a:p>
            <a:p>
              <a:pPr algn="l"/>
              <a:r>
                <a:rPr lang="en-US" sz="600" b="1" dirty="0"/>
                <a:t>.</a:t>
              </a:r>
            </a:p>
            <a:p>
              <a:pPr algn="l"/>
              <a:endParaRPr lang="en-US" sz="600" b="1" dirty="0"/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1A8595F3-396A-B992-9D71-ADADB4631D9B}"/>
                </a:ext>
              </a:extLst>
            </p:cNvPr>
            <p:cNvSpPr txBox="1"/>
            <p:nvPr/>
          </p:nvSpPr>
          <p:spPr>
            <a:xfrm>
              <a:off x="5676027" y="2223264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 dirty="0"/>
                <a:t>.</a:t>
              </a:r>
            </a:p>
            <a:p>
              <a:pPr algn="l"/>
              <a:r>
                <a:rPr lang="en-US" sz="600" b="1" dirty="0"/>
                <a:t>.</a:t>
              </a:r>
            </a:p>
            <a:p>
              <a:pPr algn="l"/>
              <a:r>
                <a:rPr lang="en-US" sz="600" b="1" dirty="0"/>
                <a:t>.</a:t>
              </a:r>
            </a:p>
            <a:p>
              <a:pPr algn="l"/>
              <a:endParaRPr lang="en-US" sz="600" b="1" dirty="0"/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0BEC3328-C22E-88C2-FF9A-72582A717D77}"/>
                </a:ext>
              </a:extLst>
            </p:cNvPr>
            <p:cNvSpPr txBox="1"/>
            <p:nvPr/>
          </p:nvSpPr>
          <p:spPr>
            <a:xfrm>
              <a:off x="6071852" y="2212602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 dirty="0"/>
                <a:t>.</a:t>
              </a:r>
            </a:p>
            <a:p>
              <a:pPr algn="l"/>
              <a:r>
                <a:rPr lang="en-US" sz="600" b="1" dirty="0"/>
                <a:t>.</a:t>
              </a:r>
            </a:p>
            <a:p>
              <a:pPr algn="l"/>
              <a:r>
                <a:rPr lang="en-US" sz="600" b="1" dirty="0"/>
                <a:t>.</a:t>
              </a:r>
            </a:p>
            <a:p>
              <a:pPr algn="l"/>
              <a:endParaRPr lang="en-US" sz="600" b="1" dirty="0"/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BA796182-D486-5078-4540-13E95B0F2143}"/>
                </a:ext>
              </a:extLst>
            </p:cNvPr>
            <p:cNvSpPr txBox="1"/>
            <p:nvPr/>
          </p:nvSpPr>
          <p:spPr>
            <a:xfrm>
              <a:off x="6533741" y="2191041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 dirty="0"/>
                <a:t>.</a:t>
              </a:r>
            </a:p>
            <a:p>
              <a:pPr algn="l"/>
              <a:r>
                <a:rPr lang="en-US" sz="600" b="1" dirty="0"/>
                <a:t>.</a:t>
              </a:r>
            </a:p>
            <a:p>
              <a:pPr algn="l"/>
              <a:r>
                <a:rPr lang="en-US" sz="600" b="1" dirty="0"/>
                <a:t>.</a:t>
              </a:r>
            </a:p>
            <a:p>
              <a:pPr algn="l"/>
              <a:endParaRPr lang="en-US" sz="600" b="1" dirty="0"/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27D99B1-E41E-C770-E8DB-2C2D0FE42C58}"/>
                </a:ext>
              </a:extLst>
            </p:cNvPr>
            <p:cNvSpPr txBox="1"/>
            <p:nvPr/>
          </p:nvSpPr>
          <p:spPr>
            <a:xfrm>
              <a:off x="6995630" y="2217933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 dirty="0"/>
                <a:t>.</a:t>
              </a:r>
            </a:p>
            <a:p>
              <a:pPr algn="l"/>
              <a:r>
                <a:rPr lang="en-US" sz="600" b="1" dirty="0"/>
                <a:t>.</a:t>
              </a:r>
            </a:p>
            <a:p>
              <a:pPr algn="l"/>
              <a:r>
                <a:rPr lang="en-US" sz="600" b="1" dirty="0"/>
                <a:t>.</a:t>
              </a:r>
            </a:p>
            <a:p>
              <a:pPr algn="l"/>
              <a:endParaRPr lang="en-US" sz="600" b="1" dirty="0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BE585CD8-818A-6E83-B6F3-3D5CBD39C160}"/>
                </a:ext>
              </a:extLst>
            </p:cNvPr>
            <p:cNvSpPr txBox="1"/>
            <p:nvPr/>
          </p:nvSpPr>
          <p:spPr>
            <a:xfrm>
              <a:off x="7414685" y="2217933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 dirty="0"/>
                <a:t>.</a:t>
              </a:r>
            </a:p>
            <a:p>
              <a:pPr algn="l"/>
              <a:r>
                <a:rPr lang="en-US" sz="600" b="1" dirty="0"/>
                <a:t>.</a:t>
              </a:r>
            </a:p>
            <a:p>
              <a:pPr algn="l"/>
              <a:r>
                <a:rPr lang="en-US" sz="600" b="1" dirty="0"/>
                <a:t>.</a:t>
              </a:r>
            </a:p>
            <a:p>
              <a:pPr algn="l"/>
              <a:endParaRPr lang="en-US" sz="600" b="1" dirty="0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18E7462B-956F-FD64-756E-B98539D6607A}"/>
                </a:ext>
              </a:extLst>
            </p:cNvPr>
            <p:cNvSpPr txBox="1"/>
            <p:nvPr/>
          </p:nvSpPr>
          <p:spPr>
            <a:xfrm>
              <a:off x="7853344" y="2223264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 dirty="0"/>
                <a:t>.</a:t>
              </a:r>
            </a:p>
            <a:p>
              <a:pPr algn="l"/>
              <a:r>
                <a:rPr lang="en-US" sz="600" b="1" dirty="0"/>
                <a:t>.</a:t>
              </a:r>
            </a:p>
            <a:p>
              <a:pPr algn="l"/>
              <a:r>
                <a:rPr lang="en-US" sz="600" b="1" dirty="0"/>
                <a:t>.</a:t>
              </a:r>
            </a:p>
            <a:p>
              <a:pPr algn="l"/>
              <a:endParaRPr lang="en-US" sz="600" b="1" dirty="0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2587BCE6-205D-25D9-4202-0FD7AA14176B}"/>
                </a:ext>
              </a:extLst>
            </p:cNvPr>
            <p:cNvSpPr txBox="1"/>
            <p:nvPr/>
          </p:nvSpPr>
          <p:spPr>
            <a:xfrm>
              <a:off x="8285008" y="2212602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 dirty="0"/>
                <a:t>.</a:t>
              </a:r>
            </a:p>
            <a:p>
              <a:pPr algn="l"/>
              <a:r>
                <a:rPr lang="en-US" sz="600" b="1" dirty="0"/>
                <a:t>.</a:t>
              </a:r>
            </a:p>
            <a:p>
              <a:pPr algn="l"/>
              <a:r>
                <a:rPr lang="en-US" sz="600" b="1" dirty="0"/>
                <a:t>.</a:t>
              </a:r>
            </a:p>
            <a:p>
              <a:pPr algn="l"/>
              <a:endParaRPr lang="en-US" sz="600" b="1" dirty="0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41737A19-6F59-EF53-20A5-1DE6CE6BB3FE}"/>
                </a:ext>
              </a:extLst>
            </p:cNvPr>
            <p:cNvSpPr txBox="1"/>
            <p:nvPr/>
          </p:nvSpPr>
          <p:spPr>
            <a:xfrm>
              <a:off x="8723667" y="2207153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 dirty="0"/>
                <a:t>.</a:t>
              </a:r>
            </a:p>
            <a:p>
              <a:pPr algn="l"/>
              <a:r>
                <a:rPr lang="en-US" sz="600" b="1" dirty="0"/>
                <a:t>.</a:t>
              </a:r>
            </a:p>
            <a:p>
              <a:pPr algn="l"/>
              <a:r>
                <a:rPr lang="en-US" sz="600" b="1" dirty="0"/>
                <a:t>.</a:t>
              </a:r>
            </a:p>
            <a:p>
              <a:pPr algn="l"/>
              <a:endParaRPr lang="en-US" sz="600" b="1" dirty="0"/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D54AF30C-36F3-35A6-9DE1-EA224AF82119}"/>
                </a:ext>
              </a:extLst>
            </p:cNvPr>
            <p:cNvSpPr txBox="1"/>
            <p:nvPr/>
          </p:nvSpPr>
          <p:spPr>
            <a:xfrm>
              <a:off x="9172947" y="2223264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 dirty="0"/>
                <a:t>.</a:t>
              </a:r>
            </a:p>
            <a:p>
              <a:pPr algn="l"/>
              <a:r>
                <a:rPr lang="en-US" sz="600" b="1" dirty="0"/>
                <a:t>.</a:t>
              </a:r>
            </a:p>
            <a:p>
              <a:pPr algn="l"/>
              <a:r>
                <a:rPr lang="en-US" sz="600" b="1" dirty="0"/>
                <a:t>.</a:t>
              </a:r>
            </a:p>
            <a:p>
              <a:pPr algn="l"/>
              <a:endParaRPr lang="en-US" sz="600" b="1" dirty="0"/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CBF38AE9-1819-654F-C783-12EE76EA1208}"/>
                </a:ext>
              </a:extLst>
            </p:cNvPr>
            <p:cNvSpPr txBox="1"/>
            <p:nvPr/>
          </p:nvSpPr>
          <p:spPr>
            <a:xfrm>
              <a:off x="9634836" y="2215209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 dirty="0"/>
                <a:t>.</a:t>
              </a:r>
            </a:p>
            <a:p>
              <a:pPr algn="l"/>
              <a:r>
                <a:rPr lang="en-US" sz="600" b="1" dirty="0"/>
                <a:t>.</a:t>
              </a:r>
            </a:p>
            <a:p>
              <a:pPr algn="l"/>
              <a:r>
                <a:rPr lang="en-US" sz="600" b="1" dirty="0"/>
                <a:t>.</a:t>
              </a:r>
            </a:p>
            <a:p>
              <a:pPr algn="l"/>
              <a:endParaRPr lang="en-US" sz="600" b="1" dirty="0"/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8629DA27-6125-2DD1-2DA9-3B2E83E78231}"/>
                </a:ext>
              </a:extLst>
            </p:cNvPr>
            <p:cNvSpPr txBox="1"/>
            <p:nvPr/>
          </p:nvSpPr>
          <p:spPr>
            <a:xfrm>
              <a:off x="10096725" y="2207153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 dirty="0"/>
                <a:t>.</a:t>
              </a:r>
            </a:p>
            <a:p>
              <a:pPr algn="l"/>
              <a:r>
                <a:rPr lang="en-US" sz="600" b="1" dirty="0"/>
                <a:t>.</a:t>
              </a:r>
            </a:p>
            <a:p>
              <a:pPr algn="l"/>
              <a:r>
                <a:rPr lang="en-US" sz="600" b="1" dirty="0"/>
                <a:t>.</a:t>
              </a:r>
            </a:p>
            <a:p>
              <a:pPr algn="l"/>
              <a:endParaRPr lang="en-US" sz="600" b="1" dirty="0"/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1174162A-BA4E-C187-B3E2-FA99FCF2167A}"/>
                </a:ext>
              </a:extLst>
            </p:cNvPr>
            <p:cNvSpPr txBox="1"/>
            <p:nvPr/>
          </p:nvSpPr>
          <p:spPr>
            <a:xfrm>
              <a:off x="10546005" y="2215209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 dirty="0"/>
                <a:t>.</a:t>
              </a:r>
            </a:p>
            <a:p>
              <a:pPr algn="l"/>
              <a:r>
                <a:rPr lang="en-US" sz="600" b="1" dirty="0"/>
                <a:t>.</a:t>
              </a:r>
            </a:p>
            <a:p>
              <a:pPr algn="l"/>
              <a:r>
                <a:rPr lang="en-US" sz="600" b="1" dirty="0"/>
                <a:t>.</a:t>
              </a:r>
            </a:p>
            <a:p>
              <a:pPr algn="l"/>
              <a:endParaRPr lang="en-US" sz="600" b="1" dirty="0"/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FDABCE33-DEE0-CCA5-2AED-B547623DCA9B}"/>
                </a:ext>
              </a:extLst>
            </p:cNvPr>
            <p:cNvSpPr txBox="1"/>
            <p:nvPr/>
          </p:nvSpPr>
          <p:spPr>
            <a:xfrm>
              <a:off x="10995285" y="2223264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 dirty="0"/>
                <a:t>.</a:t>
              </a:r>
            </a:p>
            <a:p>
              <a:pPr algn="l"/>
              <a:r>
                <a:rPr lang="en-US" sz="600" b="1" dirty="0"/>
                <a:t>.</a:t>
              </a:r>
            </a:p>
            <a:p>
              <a:pPr algn="l"/>
              <a:r>
                <a:rPr lang="en-US" sz="600" b="1" dirty="0"/>
                <a:t>.</a:t>
              </a:r>
            </a:p>
            <a:p>
              <a:pPr algn="l"/>
              <a:endParaRPr lang="en-US" sz="600" b="1" dirty="0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7EA618A7-66E7-BA11-B772-CBB28EF79CE7}"/>
                </a:ext>
              </a:extLst>
            </p:cNvPr>
            <p:cNvSpPr txBox="1"/>
            <p:nvPr/>
          </p:nvSpPr>
          <p:spPr>
            <a:xfrm>
              <a:off x="11438898" y="2215209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 dirty="0"/>
                <a:t>.</a:t>
              </a:r>
            </a:p>
            <a:p>
              <a:pPr algn="l"/>
              <a:r>
                <a:rPr lang="en-US" sz="600" b="1" dirty="0"/>
                <a:t>.</a:t>
              </a:r>
            </a:p>
            <a:p>
              <a:pPr algn="l"/>
              <a:r>
                <a:rPr lang="en-US" sz="600" b="1" dirty="0"/>
                <a:t>.</a:t>
              </a:r>
            </a:p>
            <a:p>
              <a:pPr algn="l"/>
              <a:endParaRPr lang="en-US" sz="600" b="1" dirty="0"/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389A9A02-21A1-F4B5-6116-8EE9ED59A20D}"/>
                </a:ext>
              </a:extLst>
            </p:cNvPr>
            <p:cNvSpPr txBox="1"/>
            <p:nvPr/>
          </p:nvSpPr>
          <p:spPr>
            <a:xfrm>
              <a:off x="11879370" y="2192166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 dirty="0"/>
                <a:t>.</a:t>
              </a:r>
            </a:p>
            <a:p>
              <a:pPr algn="l"/>
              <a:r>
                <a:rPr lang="en-US" sz="600" b="1" dirty="0"/>
                <a:t>.</a:t>
              </a:r>
            </a:p>
            <a:p>
              <a:pPr algn="l"/>
              <a:r>
                <a:rPr lang="en-US" sz="600" b="1" dirty="0"/>
                <a:t>.</a:t>
              </a:r>
            </a:p>
            <a:p>
              <a:pPr algn="l"/>
              <a:endParaRPr lang="en-US" sz="600" b="1" dirty="0"/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6A99E776-A7AD-3DD7-84D1-13E7B0E8903C}"/>
              </a:ext>
            </a:extLst>
          </p:cNvPr>
          <p:cNvGrpSpPr/>
          <p:nvPr/>
        </p:nvGrpSpPr>
        <p:grpSpPr>
          <a:xfrm>
            <a:off x="4854895" y="3420906"/>
            <a:ext cx="2482207" cy="3012861"/>
            <a:chOff x="4854895" y="3420906"/>
            <a:chExt cx="2482207" cy="3012861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7997254F-E682-F475-566A-E4A094078FF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854895" y="3420906"/>
              <a:ext cx="2482207" cy="2683049"/>
            </a:xfrm>
            <a:prstGeom prst="rect">
              <a:avLst/>
            </a:prstGeom>
          </p:spPr>
        </p:pic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83C15325-EE0F-26EF-360B-8A49D9DBC41A}"/>
                </a:ext>
              </a:extLst>
            </p:cNvPr>
            <p:cNvSpPr txBox="1"/>
            <p:nvPr/>
          </p:nvSpPr>
          <p:spPr>
            <a:xfrm>
              <a:off x="4948993" y="6103955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 dirty="0"/>
                <a:t>.</a:t>
              </a:r>
            </a:p>
            <a:p>
              <a:pPr algn="l"/>
              <a:r>
                <a:rPr lang="en-US" sz="600" b="1" dirty="0"/>
                <a:t>.</a:t>
              </a:r>
            </a:p>
            <a:p>
              <a:pPr algn="l"/>
              <a:r>
                <a:rPr lang="en-US" sz="600" b="1" dirty="0"/>
                <a:t>.</a:t>
              </a:r>
            </a:p>
            <a:p>
              <a:pPr algn="l"/>
              <a:endParaRPr lang="en-US" sz="600" b="1" dirty="0"/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14EE4979-A4EE-EABE-1E03-BA850686DC57}"/>
                </a:ext>
              </a:extLst>
            </p:cNvPr>
            <p:cNvSpPr/>
            <p:nvPr/>
          </p:nvSpPr>
          <p:spPr>
            <a:xfrm>
              <a:off x="4854895" y="6103955"/>
              <a:ext cx="2482207" cy="329812"/>
            </a:xfrm>
            <a:prstGeom prst="rect">
              <a:avLst/>
            </a:prstGeom>
            <a:noFill/>
            <a:ln w="635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DB5B52CA-76B9-9625-331E-73875F26186B}"/>
                </a:ext>
              </a:extLst>
            </p:cNvPr>
            <p:cNvSpPr txBox="1"/>
            <p:nvPr/>
          </p:nvSpPr>
          <p:spPr>
            <a:xfrm>
              <a:off x="5263239" y="6103955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 dirty="0"/>
                <a:t>.</a:t>
              </a:r>
            </a:p>
            <a:p>
              <a:pPr algn="l"/>
              <a:r>
                <a:rPr lang="en-US" sz="600" b="1" dirty="0"/>
                <a:t>.</a:t>
              </a:r>
            </a:p>
            <a:p>
              <a:pPr algn="l"/>
              <a:r>
                <a:rPr lang="en-US" sz="600" b="1" dirty="0"/>
                <a:t>.</a:t>
              </a:r>
            </a:p>
            <a:p>
              <a:pPr algn="l"/>
              <a:endParaRPr lang="en-US" sz="600" b="1" dirty="0"/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944425D7-B713-5E35-B7C4-6432B7E0D7FA}"/>
                </a:ext>
              </a:extLst>
            </p:cNvPr>
            <p:cNvSpPr txBox="1"/>
            <p:nvPr/>
          </p:nvSpPr>
          <p:spPr>
            <a:xfrm>
              <a:off x="5595096" y="6103955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 dirty="0"/>
                <a:t>.</a:t>
              </a:r>
            </a:p>
            <a:p>
              <a:pPr algn="l"/>
              <a:r>
                <a:rPr lang="en-US" sz="600" b="1" dirty="0"/>
                <a:t>.</a:t>
              </a:r>
            </a:p>
            <a:p>
              <a:pPr algn="l"/>
              <a:r>
                <a:rPr lang="en-US" sz="600" b="1" dirty="0"/>
                <a:t>.</a:t>
              </a:r>
            </a:p>
            <a:p>
              <a:pPr algn="l"/>
              <a:endParaRPr lang="en-US" sz="600" b="1" dirty="0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F8820FBF-3B51-E4EF-74FF-20BE1C707C62}"/>
                </a:ext>
              </a:extLst>
            </p:cNvPr>
            <p:cNvSpPr txBox="1"/>
            <p:nvPr/>
          </p:nvSpPr>
          <p:spPr>
            <a:xfrm>
              <a:off x="5914094" y="6103955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 dirty="0"/>
                <a:t>.</a:t>
              </a:r>
            </a:p>
            <a:p>
              <a:pPr algn="l"/>
              <a:r>
                <a:rPr lang="en-US" sz="600" b="1" dirty="0"/>
                <a:t>.</a:t>
              </a:r>
            </a:p>
            <a:p>
              <a:pPr algn="l"/>
              <a:r>
                <a:rPr lang="en-US" sz="600" b="1" dirty="0"/>
                <a:t>.</a:t>
              </a:r>
            </a:p>
            <a:p>
              <a:pPr algn="l"/>
              <a:endParaRPr lang="en-US" sz="600" b="1" dirty="0"/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369F8666-F682-708C-ABCD-7ACAD425FCAD}"/>
                </a:ext>
              </a:extLst>
            </p:cNvPr>
            <p:cNvSpPr txBox="1"/>
            <p:nvPr/>
          </p:nvSpPr>
          <p:spPr>
            <a:xfrm>
              <a:off x="6376600" y="6102681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 dirty="0"/>
                <a:t>.</a:t>
              </a:r>
            </a:p>
            <a:p>
              <a:pPr algn="l"/>
              <a:r>
                <a:rPr lang="en-US" sz="600" b="1" dirty="0"/>
                <a:t>.</a:t>
              </a:r>
            </a:p>
            <a:p>
              <a:pPr algn="l"/>
              <a:r>
                <a:rPr lang="en-US" sz="600" b="1" dirty="0"/>
                <a:t>.</a:t>
              </a:r>
            </a:p>
            <a:p>
              <a:pPr algn="l"/>
              <a:endParaRPr lang="en-US" sz="600" b="1" dirty="0"/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3EC1D191-96B1-760A-2A09-9D72BB6B87B4}"/>
                </a:ext>
              </a:extLst>
            </p:cNvPr>
            <p:cNvSpPr txBox="1"/>
            <p:nvPr/>
          </p:nvSpPr>
          <p:spPr>
            <a:xfrm>
              <a:off x="7087601" y="6102681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 dirty="0"/>
                <a:t>.</a:t>
              </a:r>
            </a:p>
            <a:p>
              <a:pPr algn="l"/>
              <a:r>
                <a:rPr lang="en-US" sz="600" b="1" dirty="0"/>
                <a:t>.</a:t>
              </a:r>
            </a:p>
            <a:p>
              <a:pPr algn="l"/>
              <a:r>
                <a:rPr lang="en-US" sz="600" b="1" dirty="0"/>
                <a:t>.</a:t>
              </a:r>
            </a:p>
            <a:p>
              <a:pPr algn="l"/>
              <a:endParaRPr lang="en-US" sz="600" b="1" dirty="0"/>
            </a:p>
          </p:txBody>
        </p:sp>
      </p:grpSp>
      <p:sp>
        <p:nvSpPr>
          <p:cNvPr id="43" name="TextBox 42">
            <a:extLst>
              <a:ext uri="{FF2B5EF4-FFF2-40B4-BE49-F238E27FC236}">
                <a16:creationId xmlns:a16="http://schemas.microsoft.com/office/drawing/2014/main" id="{E1BC8B14-E3B5-1B6B-3C3E-956BDC661102}"/>
              </a:ext>
            </a:extLst>
          </p:cNvPr>
          <p:cNvSpPr txBox="1"/>
          <p:nvPr/>
        </p:nvSpPr>
        <p:spPr>
          <a:xfrm>
            <a:off x="543208" y="3693814"/>
            <a:ext cx="914400" cy="91440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/>
          </a:p>
        </p:txBody>
      </p:sp>
      <p:sp>
        <p:nvSpPr>
          <p:cNvPr id="44" name="Content Placeholder 5">
            <a:extLst>
              <a:ext uri="{FF2B5EF4-FFF2-40B4-BE49-F238E27FC236}">
                <a16:creationId xmlns:a16="http://schemas.microsoft.com/office/drawing/2014/main" id="{4E0C4778-6F52-5E09-FD6C-450D652C5702}"/>
              </a:ext>
            </a:extLst>
          </p:cNvPr>
          <p:cNvSpPr txBox="1">
            <a:spLocks/>
          </p:cNvSpPr>
          <p:nvPr/>
        </p:nvSpPr>
        <p:spPr>
          <a:xfrm>
            <a:off x="259905" y="3301076"/>
            <a:ext cx="4314854" cy="1824279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800" kern="1200" baseline="0" noProof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 lang="en-US" sz="1500" kern="1200" noProof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1490663" marR="0" indent="-1730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n-US" sz="1400" dirty="0">
                <a:solidFill>
                  <a:schemeClr val="tx1"/>
                </a:solidFill>
              </a:rPr>
              <a:t>Wide data: 27 columns x 184K rows</a:t>
            </a:r>
          </a:p>
          <a:p>
            <a:pPr algn="just"/>
            <a:r>
              <a:rPr lang="en-US" sz="1400" dirty="0">
                <a:solidFill>
                  <a:schemeClr val="tx1"/>
                </a:solidFill>
              </a:rPr>
              <a:t>Long data: 7 columns x 4.1M rows </a:t>
            </a:r>
          </a:p>
          <a:p>
            <a:pPr algn="just"/>
            <a:r>
              <a:rPr lang="en-US" sz="1400" dirty="0">
                <a:solidFill>
                  <a:schemeClr val="tx1"/>
                </a:solidFill>
              </a:rPr>
              <a:t>Data transformation standardizes raw inputs into an analysis-ready format, ensuring accurate KPIs, apples-to-apples comparisons, and scalable reporting.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5" name="Content Placeholder 5">
            <a:extLst>
              <a:ext uri="{FF2B5EF4-FFF2-40B4-BE49-F238E27FC236}">
                <a16:creationId xmlns:a16="http://schemas.microsoft.com/office/drawing/2014/main" id="{1176C507-FE9C-3E7F-AD9F-2AB8F7B5CB43}"/>
              </a:ext>
            </a:extLst>
          </p:cNvPr>
          <p:cNvSpPr txBox="1">
            <a:spLocks/>
          </p:cNvSpPr>
          <p:nvPr/>
        </p:nvSpPr>
        <p:spPr>
          <a:xfrm>
            <a:off x="8342125" y="4273544"/>
            <a:ext cx="3245936" cy="977772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800" kern="1200" baseline="0" noProof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 lang="en-US" sz="1500" kern="1200" noProof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1490663" marR="0" indent="-1730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89631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5F7EEBC-1D96-5888-6464-9E722F8795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614291B-06F7-81F0-9AC7-2D50C7ACB7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137294"/>
            <a:ext cx="11277600" cy="2212489"/>
          </a:xfrm>
        </p:spPr>
        <p:txBody>
          <a:bodyPr/>
          <a:lstStyle/>
          <a:p>
            <a:pPr marL="0" indent="0">
              <a:buNone/>
            </a:pPr>
            <a:r>
              <a:rPr lang="en-US" sz="1600" b="1" dirty="0">
                <a:solidFill>
                  <a:schemeClr val="tx1"/>
                </a:solidFill>
              </a:rPr>
              <a:t>Standardization &amp; Cleaning Data: 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Text cleanup:</a:t>
            </a:r>
            <a:r>
              <a:rPr lang="en-US" sz="1400" dirty="0">
                <a:solidFill>
                  <a:schemeClr val="tx1"/>
                </a:solidFill>
              </a:rPr>
              <a:t> removed odd spaces (NBSP), trimmed, upper-cased codes/groups; de-duplicated exact row duplicates.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ICD normalization:</a:t>
            </a:r>
            <a:r>
              <a:rPr lang="en-US" sz="1400" dirty="0">
                <a:solidFill>
                  <a:schemeClr val="tx1"/>
                </a:solidFill>
              </a:rPr>
              <a:t> built a </a:t>
            </a:r>
            <a:r>
              <a:rPr lang="en-US" sz="1400" b="1" dirty="0">
                <a:solidFill>
                  <a:schemeClr val="tx1"/>
                </a:solidFill>
              </a:rPr>
              <a:t>robust ICD “root”</a:t>
            </a:r>
            <a:r>
              <a:rPr lang="en-US" sz="1400" dirty="0">
                <a:solidFill>
                  <a:schemeClr val="tx1"/>
                </a:solidFill>
              </a:rPr>
              <a:t> = text left of the decimal for initial analysis (e.g., 003.21, 3.02.3.2 → root 3; J45.9, J45.2 → root J45)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Consistent types:</a:t>
            </a:r>
            <a:r>
              <a:rPr lang="en-US" sz="1400" dirty="0">
                <a:solidFill>
                  <a:schemeClr val="tx1"/>
                </a:solidFill>
              </a:rPr>
              <a:t> coerced LOS to numeric; preserved nulls for coverage analysis.</a:t>
            </a:r>
          </a:p>
          <a:p>
            <a:r>
              <a:rPr lang="en-US" sz="1400" dirty="0">
                <a:solidFill>
                  <a:schemeClr val="tx1"/>
                </a:solidFill>
              </a:rPr>
              <a:t>Trustworthy baseline: clean, consistent inputs → defensible E&amp;M benchmarks.</a:t>
            </a:r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C93FA15-8A7D-DF16-83EC-A95E3F798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73765"/>
            <a:ext cx="3834143" cy="340115"/>
          </a:xfrm>
        </p:spPr>
        <p:txBody>
          <a:bodyPr/>
          <a:lstStyle/>
          <a:p>
            <a:r>
              <a:rPr lang="en-US" dirty="0"/>
              <a:t>Data Preprocessing</a:t>
            </a:r>
          </a:p>
        </p:txBody>
      </p:sp>
    </p:spTree>
    <p:extLst>
      <p:ext uri="{BB962C8B-B14F-4D97-AF65-F5344CB8AC3E}">
        <p14:creationId xmlns:p14="http://schemas.microsoft.com/office/powerpoint/2010/main" val="41435707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0254FAD1-7731-A36D-4FEE-4287930DDB71}"/>
              </a:ext>
            </a:extLst>
          </p:cNvPr>
          <p:cNvGrpSpPr/>
          <p:nvPr/>
        </p:nvGrpSpPr>
        <p:grpSpPr>
          <a:xfrm>
            <a:off x="3350802" y="1057277"/>
            <a:ext cx="5490396" cy="2911067"/>
            <a:chOff x="670977" y="1814842"/>
            <a:chExt cx="5490396" cy="2911067"/>
          </a:xfrm>
        </p:grpSpPr>
        <p:graphicFrame>
          <p:nvGraphicFramePr>
            <p:cNvPr id="8" name="Chart 7">
              <a:extLst>
                <a:ext uri="{FF2B5EF4-FFF2-40B4-BE49-F238E27FC236}">
                  <a16:creationId xmlns:a16="http://schemas.microsoft.com/office/drawing/2014/main" id="{485EA359-FBB3-DF21-518C-FAFE92A7D0AA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483776197"/>
                </p:ext>
              </p:extLst>
            </p:nvPr>
          </p:nvGraphicFramePr>
          <p:xfrm>
            <a:off x="670977" y="1814842"/>
            <a:ext cx="5490396" cy="26670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456E419D-1927-08D3-CDD8-D426AF46543B}"/>
                </a:ext>
              </a:extLst>
            </p:cNvPr>
            <p:cNvSpPr txBox="1"/>
            <p:nvPr/>
          </p:nvSpPr>
          <p:spPr>
            <a:xfrm>
              <a:off x="1421395" y="4418468"/>
              <a:ext cx="516048" cy="307441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l"/>
              <a:r>
                <a:rPr lang="en-US" sz="800" dirty="0"/>
                <a:t>LOS 3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34429020-0F14-9896-E2CD-06A6330697D9}"/>
                </a:ext>
              </a:extLst>
            </p:cNvPr>
            <p:cNvSpPr txBox="1"/>
            <p:nvPr/>
          </p:nvSpPr>
          <p:spPr>
            <a:xfrm>
              <a:off x="2089842" y="4418468"/>
              <a:ext cx="516048" cy="307441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l"/>
              <a:r>
                <a:rPr lang="en-US" sz="800" dirty="0"/>
                <a:t>LOS 2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16085DDB-F7EA-556B-CB5E-54565038E0FB}"/>
                </a:ext>
              </a:extLst>
            </p:cNvPr>
            <p:cNvSpPr txBox="1"/>
            <p:nvPr/>
          </p:nvSpPr>
          <p:spPr>
            <a:xfrm>
              <a:off x="2815627" y="4418467"/>
              <a:ext cx="600548" cy="307441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l"/>
              <a:r>
                <a:rPr lang="en-US" sz="800" dirty="0"/>
                <a:t>LOS 4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1841DC99-B398-2605-16E9-EC08F4B6699A}"/>
                </a:ext>
              </a:extLst>
            </p:cNvPr>
            <p:cNvSpPr txBox="1"/>
            <p:nvPr/>
          </p:nvSpPr>
          <p:spPr>
            <a:xfrm>
              <a:off x="3511234" y="4418467"/>
              <a:ext cx="600548" cy="307441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l"/>
              <a:r>
                <a:rPr lang="en-US" sz="800" dirty="0"/>
                <a:t>LOS 5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00E8FC2-CD42-77B7-0221-D08337B41DF3}"/>
                </a:ext>
              </a:extLst>
            </p:cNvPr>
            <p:cNvSpPr txBox="1"/>
            <p:nvPr/>
          </p:nvSpPr>
          <p:spPr>
            <a:xfrm>
              <a:off x="4206841" y="4418466"/>
              <a:ext cx="600548" cy="307441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l"/>
              <a:r>
                <a:rPr lang="en-US" sz="800" dirty="0"/>
                <a:t>LOS 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032185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B4DB4D-C5AE-BCE2-7A6E-7A89146010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783E3C7A-C057-C919-B117-C41FF89C4ED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90635838"/>
              </p:ext>
            </p:extLst>
          </p:nvPr>
        </p:nvGraphicFramePr>
        <p:xfrm>
          <a:off x="2475893" y="501820"/>
          <a:ext cx="7696005" cy="42601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170296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19B262-8EE9-5A07-2209-EC6CA66B68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AD37935A-6E8E-498B-A52F-543025BA49A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3986980"/>
              </p:ext>
            </p:extLst>
          </p:nvPr>
        </p:nvGraphicFramePr>
        <p:xfrm>
          <a:off x="2082298" y="387927"/>
          <a:ext cx="8733484" cy="53700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5233551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448B404E-F51B-0E05-A525-277A55BB9C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8031704"/>
              </p:ext>
            </p:extLst>
          </p:nvPr>
        </p:nvGraphicFramePr>
        <p:xfrm>
          <a:off x="458790" y="580620"/>
          <a:ext cx="11274420" cy="2291429"/>
        </p:xfrm>
        <a:graphic>
          <a:graphicData uri="http://schemas.openxmlformats.org/drawingml/2006/table">
            <a:tbl>
              <a:tblPr/>
              <a:tblGrid>
                <a:gridCol w="416030">
                  <a:extLst>
                    <a:ext uri="{9D8B030D-6E8A-4147-A177-3AD203B41FA5}">
                      <a16:colId xmlns:a16="http://schemas.microsoft.com/office/drawing/2014/main" val="667104215"/>
                    </a:ext>
                  </a:extLst>
                </a:gridCol>
                <a:gridCol w="1580916">
                  <a:extLst>
                    <a:ext uri="{9D8B030D-6E8A-4147-A177-3AD203B41FA5}">
                      <a16:colId xmlns:a16="http://schemas.microsoft.com/office/drawing/2014/main" val="3711310064"/>
                    </a:ext>
                  </a:extLst>
                </a:gridCol>
                <a:gridCol w="399389">
                  <a:extLst>
                    <a:ext uri="{9D8B030D-6E8A-4147-A177-3AD203B41FA5}">
                      <a16:colId xmlns:a16="http://schemas.microsoft.com/office/drawing/2014/main" val="1379798311"/>
                    </a:ext>
                  </a:extLst>
                </a:gridCol>
                <a:gridCol w="399389">
                  <a:extLst>
                    <a:ext uri="{9D8B030D-6E8A-4147-A177-3AD203B41FA5}">
                      <a16:colId xmlns:a16="http://schemas.microsoft.com/office/drawing/2014/main" val="2513103767"/>
                    </a:ext>
                  </a:extLst>
                </a:gridCol>
                <a:gridCol w="399389">
                  <a:extLst>
                    <a:ext uri="{9D8B030D-6E8A-4147-A177-3AD203B41FA5}">
                      <a16:colId xmlns:a16="http://schemas.microsoft.com/office/drawing/2014/main" val="553284134"/>
                    </a:ext>
                  </a:extLst>
                </a:gridCol>
                <a:gridCol w="399389">
                  <a:extLst>
                    <a:ext uri="{9D8B030D-6E8A-4147-A177-3AD203B41FA5}">
                      <a16:colId xmlns:a16="http://schemas.microsoft.com/office/drawing/2014/main" val="2161949460"/>
                    </a:ext>
                  </a:extLst>
                </a:gridCol>
                <a:gridCol w="399389">
                  <a:extLst>
                    <a:ext uri="{9D8B030D-6E8A-4147-A177-3AD203B41FA5}">
                      <a16:colId xmlns:a16="http://schemas.microsoft.com/office/drawing/2014/main" val="3108281213"/>
                    </a:ext>
                  </a:extLst>
                </a:gridCol>
                <a:gridCol w="399389">
                  <a:extLst>
                    <a:ext uri="{9D8B030D-6E8A-4147-A177-3AD203B41FA5}">
                      <a16:colId xmlns:a16="http://schemas.microsoft.com/office/drawing/2014/main" val="2578175931"/>
                    </a:ext>
                  </a:extLst>
                </a:gridCol>
                <a:gridCol w="399389">
                  <a:extLst>
                    <a:ext uri="{9D8B030D-6E8A-4147-A177-3AD203B41FA5}">
                      <a16:colId xmlns:a16="http://schemas.microsoft.com/office/drawing/2014/main" val="3806571572"/>
                    </a:ext>
                  </a:extLst>
                </a:gridCol>
                <a:gridCol w="399389">
                  <a:extLst>
                    <a:ext uri="{9D8B030D-6E8A-4147-A177-3AD203B41FA5}">
                      <a16:colId xmlns:a16="http://schemas.microsoft.com/office/drawing/2014/main" val="2866460782"/>
                    </a:ext>
                  </a:extLst>
                </a:gridCol>
                <a:gridCol w="399389">
                  <a:extLst>
                    <a:ext uri="{9D8B030D-6E8A-4147-A177-3AD203B41FA5}">
                      <a16:colId xmlns:a16="http://schemas.microsoft.com/office/drawing/2014/main" val="4092435882"/>
                    </a:ext>
                  </a:extLst>
                </a:gridCol>
                <a:gridCol w="399389">
                  <a:extLst>
                    <a:ext uri="{9D8B030D-6E8A-4147-A177-3AD203B41FA5}">
                      <a16:colId xmlns:a16="http://schemas.microsoft.com/office/drawing/2014/main" val="2449923732"/>
                    </a:ext>
                  </a:extLst>
                </a:gridCol>
                <a:gridCol w="399389">
                  <a:extLst>
                    <a:ext uri="{9D8B030D-6E8A-4147-A177-3AD203B41FA5}">
                      <a16:colId xmlns:a16="http://schemas.microsoft.com/office/drawing/2014/main" val="3563444601"/>
                    </a:ext>
                  </a:extLst>
                </a:gridCol>
                <a:gridCol w="399389">
                  <a:extLst>
                    <a:ext uri="{9D8B030D-6E8A-4147-A177-3AD203B41FA5}">
                      <a16:colId xmlns:a16="http://schemas.microsoft.com/office/drawing/2014/main" val="4291953520"/>
                    </a:ext>
                  </a:extLst>
                </a:gridCol>
                <a:gridCol w="399389">
                  <a:extLst>
                    <a:ext uri="{9D8B030D-6E8A-4147-A177-3AD203B41FA5}">
                      <a16:colId xmlns:a16="http://schemas.microsoft.com/office/drawing/2014/main" val="3336546034"/>
                    </a:ext>
                  </a:extLst>
                </a:gridCol>
                <a:gridCol w="399389">
                  <a:extLst>
                    <a:ext uri="{9D8B030D-6E8A-4147-A177-3AD203B41FA5}">
                      <a16:colId xmlns:a16="http://schemas.microsoft.com/office/drawing/2014/main" val="1233249950"/>
                    </a:ext>
                  </a:extLst>
                </a:gridCol>
                <a:gridCol w="399389">
                  <a:extLst>
                    <a:ext uri="{9D8B030D-6E8A-4147-A177-3AD203B41FA5}">
                      <a16:colId xmlns:a16="http://schemas.microsoft.com/office/drawing/2014/main" val="4024035999"/>
                    </a:ext>
                  </a:extLst>
                </a:gridCol>
                <a:gridCol w="399389">
                  <a:extLst>
                    <a:ext uri="{9D8B030D-6E8A-4147-A177-3AD203B41FA5}">
                      <a16:colId xmlns:a16="http://schemas.microsoft.com/office/drawing/2014/main" val="1939471558"/>
                    </a:ext>
                  </a:extLst>
                </a:gridCol>
                <a:gridCol w="399389">
                  <a:extLst>
                    <a:ext uri="{9D8B030D-6E8A-4147-A177-3AD203B41FA5}">
                      <a16:colId xmlns:a16="http://schemas.microsoft.com/office/drawing/2014/main" val="2795025347"/>
                    </a:ext>
                  </a:extLst>
                </a:gridCol>
                <a:gridCol w="399389">
                  <a:extLst>
                    <a:ext uri="{9D8B030D-6E8A-4147-A177-3AD203B41FA5}">
                      <a16:colId xmlns:a16="http://schemas.microsoft.com/office/drawing/2014/main" val="2491421537"/>
                    </a:ext>
                  </a:extLst>
                </a:gridCol>
                <a:gridCol w="399389">
                  <a:extLst>
                    <a:ext uri="{9D8B030D-6E8A-4147-A177-3AD203B41FA5}">
                      <a16:colId xmlns:a16="http://schemas.microsoft.com/office/drawing/2014/main" val="2874493324"/>
                    </a:ext>
                  </a:extLst>
                </a:gridCol>
                <a:gridCol w="399389">
                  <a:extLst>
                    <a:ext uri="{9D8B030D-6E8A-4147-A177-3AD203B41FA5}">
                      <a16:colId xmlns:a16="http://schemas.microsoft.com/office/drawing/2014/main" val="3063222246"/>
                    </a:ext>
                  </a:extLst>
                </a:gridCol>
                <a:gridCol w="399389">
                  <a:extLst>
                    <a:ext uri="{9D8B030D-6E8A-4147-A177-3AD203B41FA5}">
                      <a16:colId xmlns:a16="http://schemas.microsoft.com/office/drawing/2014/main" val="4075404703"/>
                    </a:ext>
                  </a:extLst>
                </a:gridCol>
                <a:gridCol w="399389">
                  <a:extLst>
                    <a:ext uri="{9D8B030D-6E8A-4147-A177-3AD203B41FA5}">
                      <a16:colId xmlns:a16="http://schemas.microsoft.com/office/drawing/2014/main" val="1681120919"/>
                    </a:ext>
                  </a:extLst>
                </a:gridCol>
                <a:gridCol w="490916">
                  <a:extLst>
                    <a:ext uri="{9D8B030D-6E8A-4147-A177-3AD203B41FA5}">
                      <a16:colId xmlns:a16="http://schemas.microsoft.com/office/drawing/2014/main" val="1388663423"/>
                    </a:ext>
                  </a:extLst>
                </a:gridCol>
              </a:tblGrid>
              <a:tr h="124809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ICD</a:t>
                      </a:r>
                    </a:p>
                  </a:txBody>
                  <a:tcPr marL="6240" marR="6240" marT="6240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ICD_Description</a:t>
                      </a:r>
                    </a:p>
                  </a:txBody>
                  <a:tcPr marL="6240" marR="6240" marT="6240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ESTAO</a:t>
                      </a:r>
                    </a:p>
                  </a:txBody>
                  <a:tcPr marL="6240" marR="6240" marT="6240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ESTAV</a:t>
                      </a:r>
                    </a:p>
                  </a:txBody>
                  <a:tcPr marL="6240" marR="6240" marT="6240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ESTDC</a:t>
                      </a:r>
                    </a:p>
                  </a:txBody>
                  <a:tcPr marL="6240" marR="6240" marT="6240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ESTHH</a:t>
                      </a:r>
                    </a:p>
                  </a:txBody>
                  <a:tcPr marL="6240" marR="6240" marT="6240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ESTNR</a:t>
                      </a:r>
                    </a:p>
                  </a:txBody>
                  <a:tcPr marL="6240" marR="6240" marT="6240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ESTOV</a:t>
                      </a:r>
                    </a:p>
                  </a:txBody>
                  <a:tcPr marL="6240" marR="6240" marT="6240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EYEES</a:t>
                      </a:r>
                    </a:p>
                  </a:txBody>
                  <a:tcPr marL="6240" marR="6240" marT="6240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EYENW</a:t>
                      </a:r>
                    </a:p>
                  </a:txBody>
                  <a:tcPr marL="6240" marR="6240" marT="6240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IPADM</a:t>
                      </a:r>
                    </a:p>
                  </a:txBody>
                  <a:tcPr marL="6240" marR="6240" marT="6240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IPCON</a:t>
                      </a:r>
                    </a:p>
                  </a:txBody>
                  <a:tcPr marL="6240" marR="6240" marT="6240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IPERV</a:t>
                      </a:r>
                    </a:p>
                  </a:txBody>
                  <a:tcPr marL="6240" marR="6240" marT="6240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IPFUV</a:t>
                      </a:r>
                    </a:p>
                  </a:txBody>
                  <a:tcPr marL="6240" marR="6240" marT="6240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NEWAO</a:t>
                      </a:r>
                    </a:p>
                  </a:txBody>
                  <a:tcPr marL="6240" marR="6240" marT="6240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NEWAV</a:t>
                      </a:r>
                    </a:p>
                  </a:txBody>
                  <a:tcPr marL="6240" marR="6240" marT="6240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NEWDC</a:t>
                      </a:r>
                    </a:p>
                  </a:txBody>
                  <a:tcPr marL="6240" marR="6240" marT="6240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NEWHH</a:t>
                      </a:r>
                    </a:p>
                  </a:txBody>
                  <a:tcPr marL="6240" marR="6240" marT="6240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NEWNR</a:t>
                      </a:r>
                    </a:p>
                  </a:txBody>
                  <a:tcPr marL="6240" marR="6240" marT="6240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NEWOV</a:t>
                      </a:r>
                    </a:p>
                  </a:txBody>
                  <a:tcPr marL="6240" marR="6240" marT="6240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OBSFU</a:t>
                      </a:r>
                    </a:p>
                  </a:txBody>
                  <a:tcPr marL="6240" marR="6240" marT="6240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OBSNW</a:t>
                      </a:r>
                    </a:p>
                  </a:txBody>
                  <a:tcPr marL="6240" marR="6240" marT="6240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OVCON</a:t>
                      </a:r>
                    </a:p>
                  </a:txBody>
                  <a:tcPr marL="6240" marR="6240" marT="6240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TRNCM</a:t>
                      </a:r>
                    </a:p>
                  </a:txBody>
                  <a:tcPr marL="6240" marR="6240" marT="6240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Grand Total</a:t>
                      </a:r>
                    </a:p>
                  </a:txBody>
                  <a:tcPr marL="6240" marR="6240" marT="6240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2202804"/>
                  </a:ext>
                </a:extLst>
              </a:tr>
              <a:tr h="143531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A81</a:t>
                      </a:r>
                    </a:p>
                  </a:txBody>
                  <a:tcPr marL="6240" marR="6240" marT="6240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Creutzfeldt-Jakob disease, unspecified</a:t>
                      </a:r>
                    </a:p>
                  </a:txBody>
                  <a:tcPr marL="6240" marR="6240" marT="6240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36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9834692"/>
                  </a:ext>
                </a:extLst>
              </a:tr>
              <a:tr h="224656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A19</a:t>
                      </a:r>
                    </a:p>
                  </a:txBody>
                  <a:tcPr marL="6240" marR="6240" marT="6240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Acute miliary tuberculosis of a single specified site</a:t>
                      </a:r>
                    </a:p>
                  </a:txBody>
                  <a:tcPr marL="6240" marR="6240" marT="6240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36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6919800"/>
                  </a:ext>
                </a:extLst>
              </a:tr>
              <a:tr h="262099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46</a:t>
                      </a:r>
                    </a:p>
                  </a:txBody>
                  <a:tcPr marL="6240" marR="6240" marT="6240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Slow low virus infections &amp; Orior diseases of central nervous system</a:t>
                      </a:r>
                    </a:p>
                  </a:txBody>
                  <a:tcPr marL="6240" marR="6240" marT="6240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 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 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 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 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22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233615"/>
                  </a:ext>
                </a:extLst>
              </a:tr>
              <a:tr h="124809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18</a:t>
                      </a:r>
                    </a:p>
                  </a:txBody>
                  <a:tcPr marL="6240" marR="6240" marT="6240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Acute miliary Tuberculosis</a:t>
                      </a:r>
                    </a:p>
                  </a:txBody>
                  <a:tcPr marL="6240" marR="6240" marT="6240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 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 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 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 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22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8819301"/>
                  </a:ext>
                </a:extLst>
              </a:tr>
              <a:tr h="27458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C81</a:t>
                      </a:r>
                    </a:p>
                  </a:txBody>
                  <a:tcPr marL="6240" marR="6240" marT="6240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Nodular lymphocyte predominant Hodgkin lymphoma, unspecified site</a:t>
                      </a:r>
                    </a:p>
                  </a:txBody>
                  <a:tcPr marL="6240" marR="6240" marT="6240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09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575845"/>
                  </a:ext>
                </a:extLst>
              </a:tr>
              <a:tr h="224656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C85</a:t>
                      </a:r>
                    </a:p>
                  </a:txBody>
                  <a:tcPr marL="6240" marR="6240" marT="6240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Unspecified B-cell lymphoma, unspecified site</a:t>
                      </a:r>
                    </a:p>
                  </a:txBody>
                  <a:tcPr marL="6240" marR="6240" marT="6240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09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6853844"/>
                  </a:ext>
                </a:extLst>
              </a:tr>
              <a:tr h="224656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C82</a:t>
                      </a:r>
                    </a:p>
                  </a:txBody>
                  <a:tcPr marL="6240" marR="6240" marT="6240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Follicular lymphoma grade I, unspecified site</a:t>
                      </a:r>
                    </a:p>
                  </a:txBody>
                  <a:tcPr marL="6240" marR="6240" marT="6240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09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083359"/>
                  </a:ext>
                </a:extLst>
              </a:tr>
              <a:tr h="124809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C4A</a:t>
                      </a:r>
                    </a:p>
                  </a:txBody>
                  <a:tcPr marL="6240" marR="6240" marT="6240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Merkel cell carcinoma of lip</a:t>
                      </a:r>
                    </a:p>
                  </a:txBody>
                  <a:tcPr marL="6240" marR="6240" marT="6240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09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5171243"/>
                  </a:ext>
                </a:extLst>
              </a:tr>
              <a:tr h="224656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C7A</a:t>
                      </a:r>
                    </a:p>
                  </a:txBody>
                  <a:tcPr marL="6240" marR="6240" marT="6240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Malignant carcinoid tumor of unspecified site</a:t>
                      </a:r>
                    </a:p>
                  </a:txBody>
                  <a:tcPr marL="6240" marR="6240" marT="6240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09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2597406"/>
                  </a:ext>
                </a:extLst>
              </a:tr>
              <a:tr h="262099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B20</a:t>
                      </a:r>
                    </a:p>
                  </a:txBody>
                  <a:tcPr marL="6240" marR="6240" marT="6240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Human immunodeficiency virus [HIV] disease</a:t>
                      </a:r>
                    </a:p>
                  </a:txBody>
                  <a:tcPr marL="6240" marR="6240" marT="6240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09</a:t>
                      </a:r>
                    </a:p>
                  </a:txBody>
                  <a:tcPr marL="6240" marR="6240" marT="624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28010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744111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230950-9D6C-A84C-0D46-19ACB6F8DA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60F960D3-6E35-459C-B5B7-13B374C3914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3443713"/>
              </p:ext>
            </p:extLst>
          </p:nvPr>
        </p:nvGraphicFramePr>
        <p:xfrm>
          <a:off x="2823902" y="527628"/>
          <a:ext cx="6544196" cy="42879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778441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eGp8fk0OF3Czihc62mZ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sePKmXE6txe7dguw_Uj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sePKmXE6txe7dguw_Uj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sePKmXE6txe7dguw_Uj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IcgM8Za4zcKAG1PnLP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KIivFnFJr8zfOPH3IBq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1smOlCia0LnRVn34pek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1smOlCia0LnRVn34pek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1smOlCia0LnRVn34pek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1smOlCia0LnRVn34pek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PtZwWNNZ_N4Z9Yz22PW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1smOlCia0LnRVn34pek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1smOlCia0LnRVn34pek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SDfcNeXbrJyUhzm821I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sePKmXE6txe7dguw_Uj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IcgM8Za4zcKAG1PnLPO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53FziJKxKTAmuRYooTt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ZG4Xsi8ujo4POZdcaaE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sW.DIeOxRiDmUqeiCUfQ"/>
</p:tagLst>
</file>

<file path=ppt/theme/theme1.xml><?xml version="1.0" encoding="utf-8"?>
<a:theme xmlns:a="http://schemas.openxmlformats.org/drawingml/2006/main" name="PPT Template - Cotiviti Corporate">
  <a:themeElements>
    <a:clrScheme name="Cotiviti 2025">
      <a:dk1>
        <a:srgbClr val="000000"/>
      </a:dk1>
      <a:lt1>
        <a:srgbClr val="FFFFFF"/>
      </a:lt1>
      <a:dk2>
        <a:srgbClr val="FF8600"/>
      </a:dk2>
      <a:lt2>
        <a:srgbClr val="94D648"/>
      </a:lt2>
      <a:accent1>
        <a:srgbClr val="30006F"/>
      </a:accent1>
      <a:accent2>
        <a:srgbClr val="9579D3"/>
      </a:accent2>
      <a:accent3>
        <a:srgbClr val="EC008C"/>
      </a:accent3>
      <a:accent4>
        <a:srgbClr val="00B1F5"/>
      </a:accent4>
      <a:accent5>
        <a:srgbClr val="ECE700"/>
      </a:accent5>
      <a:accent6>
        <a:srgbClr val="00D3CB"/>
      </a:accent6>
      <a:hlink>
        <a:srgbClr val="9579D3"/>
      </a:hlink>
      <a:folHlink>
        <a:srgbClr val="9578D3"/>
      </a:folHlink>
    </a:clrScheme>
    <a:fontScheme name="Cotiviti 2025">
      <a:majorFont>
        <a:latin typeface="Montserrat SemiBold"/>
        <a:ea typeface=""/>
        <a:cs typeface=""/>
      </a:majorFont>
      <a:minorFont>
        <a:latin typeface="Montserrat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PTTemplate2025" id="{7ECD081A-B5A8-7947-9DE3-CF83796D7EC5}" vid="{E48CC56D-70E2-5D46-AB0F-0D80E894DDE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D0314092FC43E47B482C30E8ABB972C" ma:contentTypeVersion="15" ma:contentTypeDescription="Create a new document." ma:contentTypeScope="" ma:versionID="f834fce2f86e9c03b34a9e8bd291de82">
  <xsd:schema xmlns:xsd="http://www.w3.org/2001/XMLSchema" xmlns:xs="http://www.w3.org/2001/XMLSchema" xmlns:p="http://schemas.microsoft.com/office/2006/metadata/properties" xmlns:ns2="8bbd6924-e62c-4dd2-a872-7150e4a8d343" xmlns:ns3="b08ce299-4fa7-4e4b-b5be-c13a3fe4ceff" targetNamespace="http://schemas.microsoft.com/office/2006/metadata/properties" ma:root="true" ma:fieldsID="06ddb9a7c8fd4b4bcd7d27b9a83f88c8" ns2:_="" ns3:_="">
    <xsd:import namespace="8bbd6924-e62c-4dd2-a872-7150e4a8d343"/>
    <xsd:import namespace="b08ce299-4fa7-4e4b-b5be-c13a3fe4cef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LengthInSecond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bbd6924-e62c-4dd2-a872-7150e4a8d34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4ebe00df-d97b-4d6c-b305-55c807d4998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08ce299-4fa7-4e4b-b5be-c13a3fe4ceff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684ea640-5c58-4c0a-b025-cd362d0c1603}" ma:internalName="TaxCatchAll" ma:showField="CatchAllData" ma:web="b08ce299-4fa7-4e4b-b5be-c13a3fe4cef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8bbd6924-e62c-4dd2-a872-7150e4a8d343">
      <Terms xmlns="http://schemas.microsoft.com/office/infopath/2007/PartnerControls"/>
    </lcf76f155ced4ddcb4097134ff3c332f>
    <TaxCatchAll xmlns="b08ce299-4fa7-4e4b-b5be-c13a3fe4ceff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547B175-D774-4895-88FB-805066634CD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bbd6924-e62c-4dd2-a872-7150e4a8d343"/>
    <ds:schemaRef ds:uri="b08ce299-4fa7-4e4b-b5be-c13a3fe4cef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1BE0162-B3B5-4B02-9B39-8239381A7630}">
  <ds:schemaRefs>
    <ds:schemaRef ds:uri="b08ce299-4fa7-4e4b-b5be-c13a3fe4ceff"/>
    <ds:schemaRef ds:uri="8bbd6924-e62c-4dd2-a872-7150e4a8d343"/>
    <ds:schemaRef ds:uri="http://schemas.openxmlformats.org/package/2006/metadata/core-properties"/>
    <ds:schemaRef ds:uri="http://purl.org/dc/elements/1.1/"/>
    <ds:schemaRef ds:uri="http://purl.org/dc/dcmitype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89721971-EA64-4852-BDAA-629B9AE14DB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Template2025</Template>
  <TotalTime>997</TotalTime>
  <Words>599</Words>
  <Application>Microsoft Office PowerPoint</Application>
  <PresentationFormat>Widescreen</PresentationFormat>
  <Paragraphs>394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3" baseType="lpstr">
      <vt:lpstr>Calibri</vt:lpstr>
      <vt:lpstr>Montserrat Light</vt:lpstr>
      <vt:lpstr>Montserrat SemiBold</vt:lpstr>
      <vt:lpstr>Montserrat</vt:lpstr>
      <vt:lpstr>Arial</vt:lpstr>
      <vt:lpstr>Aptos</vt:lpstr>
      <vt:lpstr>Wingdings</vt:lpstr>
      <vt:lpstr>Montserrat Medium</vt:lpstr>
      <vt:lpstr>Courier New</vt:lpstr>
      <vt:lpstr>PPT Template - Cotiviti Corporate</vt:lpstr>
      <vt:lpstr>think-cell Slide</vt:lpstr>
      <vt:lpstr>E&amp;M Analysis</vt:lpstr>
      <vt:lpstr>Agenda</vt:lpstr>
      <vt:lpstr>Data Transformation (Wide → Long)</vt:lpstr>
      <vt:lpstr>Data Preprocessing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Kabadi, Pooja</dc:creator>
  <cp:keywords/>
  <dc:description/>
  <cp:lastModifiedBy>Kabadi, Pooja</cp:lastModifiedBy>
  <cp:revision>1</cp:revision>
  <cp:lastPrinted>2021-12-14T17:29:48Z</cp:lastPrinted>
  <dcterms:created xsi:type="dcterms:W3CDTF">2025-09-09T19:32:59Z</dcterms:created>
  <dcterms:modified xsi:type="dcterms:W3CDTF">2025-09-10T20:38:13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D0314092FC43E47B482C30E8ABB972C</vt:lpwstr>
  </property>
  <property fmtid="{D5CDD505-2E9C-101B-9397-08002B2CF9AE}" pid="3" name="MediaServiceImageTags">
    <vt:lpwstr/>
  </property>
</Properties>
</file>